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77" r:id="rId5"/>
  </p:sldMasterIdLst>
  <p:notesMasterIdLst>
    <p:notesMasterId r:id="rId41"/>
  </p:notesMasterIdLst>
  <p:sldIdLst>
    <p:sldId id="1002" r:id="rId6"/>
    <p:sldId id="5474" r:id="rId7"/>
    <p:sldId id="5461" r:id="rId8"/>
    <p:sldId id="5363" r:id="rId9"/>
    <p:sldId id="5366" r:id="rId10"/>
    <p:sldId id="5368" r:id="rId11"/>
    <p:sldId id="5369" r:id="rId12"/>
    <p:sldId id="5367" r:id="rId13"/>
    <p:sldId id="5364" r:id="rId14"/>
    <p:sldId id="5440" r:id="rId15"/>
    <p:sldId id="5485" r:id="rId16"/>
    <p:sldId id="5455" r:id="rId17"/>
    <p:sldId id="5453" r:id="rId18"/>
    <p:sldId id="5429" r:id="rId19"/>
    <p:sldId id="5457" r:id="rId20"/>
    <p:sldId id="5456" r:id="rId21"/>
    <p:sldId id="5417" r:id="rId22"/>
    <p:sldId id="5463" r:id="rId23"/>
    <p:sldId id="5213" r:id="rId24"/>
    <p:sldId id="547" r:id="rId25"/>
    <p:sldId id="5476" r:id="rId26"/>
    <p:sldId id="5202" r:id="rId27"/>
    <p:sldId id="5464" r:id="rId28"/>
    <p:sldId id="5479" r:id="rId29"/>
    <p:sldId id="259" r:id="rId30"/>
    <p:sldId id="5467" r:id="rId31"/>
    <p:sldId id="5469" r:id="rId32"/>
    <p:sldId id="5472" r:id="rId33"/>
    <p:sldId id="5475" r:id="rId34"/>
    <p:sldId id="2153" r:id="rId35"/>
    <p:sldId id="2154" r:id="rId36"/>
    <p:sldId id="5465" r:id="rId37"/>
    <p:sldId id="5477" r:id="rId38"/>
    <p:sldId id="5483" r:id="rId39"/>
    <p:sldId id="5484" r:id="rId40"/>
  </p:sldIdLst>
  <p:sldSz cx="12192000" cy="6858000"/>
  <p:notesSz cx="7102475" cy="9388475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6C47F8-E5F1-6130-BF60-A71F34DD6689}" name="Heidi Joanne Bergh-Hoff" initials="HJBH" userId="S::heidi.bergh-hoff@hkdir.no::b7345d7b-94c6-4195-9161-e0f2b6e92b3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 Hovde" initials="PH" lastIdx="1" clrIdx="0">
    <p:extLst>
      <p:ext uri="{19B8F6BF-5375-455C-9EA6-DF929625EA0E}">
        <p15:presenceInfo xmlns:p15="http://schemas.microsoft.com/office/powerpoint/2012/main" userId="Per Hovde" providerId="None"/>
      </p:ext>
    </p:extLst>
  </p:cmAuthor>
  <p:cmAuthor id="2" name="Heidi Joanne Bergh-Hoff" initials="HB" lastIdx="1" clrIdx="1">
    <p:extLst>
      <p:ext uri="{19B8F6BF-5375-455C-9EA6-DF929625EA0E}">
        <p15:presenceInfo xmlns:p15="http://schemas.microsoft.com/office/powerpoint/2012/main" userId="S::heidi.bergh-hoff@hkdir.no::b7345d7b-94c6-4195-9161-e0f2b6e92b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76"/>
    <a:srgbClr val="01BBA9"/>
    <a:srgbClr val="F14D49"/>
    <a:srgbClr val="EC624E"/>
    <a:srgbClr val="FA624E"/>
    <a:srgbClr val="F5A33B"/>
    <a:srgbClr val="D3CEF5"/>
    <a:srgbClr val="BCB1F2"/>
    <a:srgbClr val="96DCFC"/>
    <a:srgbClr val="4EF8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82FA5A-226F-4647-A328-C834339E6962}" v="2676" dt="2022-01-19T07:29:56.897"/>
    <p1510:client id="{B6E98990-C04C-4E3D-8F94-682A0079C78C}" v="4026" dt="2022-01-19T07:59:09.5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3" y="3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 Hovde" userId="336a567d-735c-4805-ba8e-b6f07afebca7" providerId="ADAL" clId="{912005A8-5896-43A3-A369-790BF1F07D4B}"/>
    <pc:docChg chg="undo custSel addSld delSld modSld sldOrd">
      <pc:chgData name="Per Hovde" userId="336a567d-735c-4805-ba8e-b6f07afebca7" providerId="ADAL" clId="{912005A8-5896-43A3-A369-790BF1F07D4B}" dt="2022-01-07T14:01:43.439" v="1284" actId="47"/>
      <pc:docMkLst>
        <pc:docMk/>
      </pc:docMkLst>
      <pc:sldChg chg="ord">
        <pc:chgData name="Per Hovde" userId="336a567d-735c-4805-ba8e-b6f07afebca7" providerId="ADAL" clId="{912005A8-5896-43A3-A369-790BF1F07D4B}" dt="2022-01-07T14:01:38.214" v="1283"/>
        <pc:sldMkLst>
          <pc:docMk/>
          <pc:sldMk cId="1844174621" sldId="547"/>
        </pc:sldMkLst>
      </pc:sldChg>
      <pc:sldChg chg="modSp mod">
        <pc:chgData name="Per Hovde" userId="336a567d-735c-4805-ba8e-b6f07afebca7" providerId="ADAL" clId="{912005A8-5896-43A3-A369-790BF1F07D4B}" dt="2022-01-07T11:36:22.341" v="39" actId="20577"/>
        <pc:sldMkLst>
          <pc:docMk/>
          <pc:sldMk cId="1487953720" sldId="1002"/>
        </pc:sldMkLst>
        <pc:spChg chg="mod">
          <ac:chgData name="Per Hovde" userId="336a567d-735c-4805-ba8e-b6f07afebca7" providerId="ADAL" clId="{912005A8-5896-43A3-A369-790BF1F07D4B}" dt="2022-01-07T11:36:22.341" v="39" actId="20577"/>
          <ac:spMkLst>
            <pc:docMk/>
            <pc:sldMk cId="1487953720" sldId="1002"/>
            <ac:spMk id="2" creationId="{7C8A331D-91CE-4C5E-AE53-01C12CB5F8B4}"/>
          </ac:spMkLst>
        </pc:spChg>
      </pc:sldChg>
      <pc:sldChg chg="addSp delSp modSp mod ord">
        <pc:chgData name="Per Hovde" userId="336a567d-735c-4805-ba8e-b6f07afebca7" providerId="ADAL" clId="{912005A8-5896-43A3-A369-790BF1F07D4B}" dt="2022-01-07T14:01:28.154" v="1281"/>
        <pc:sldMkLst>
          <pc:docMk/>
          <pc:sldMk cId="2822831896" sldId="5202"/>
        </pc:sldMkLst>
        <pc:spChg chg="mod">
          <ac:chgData name="Per Hovde" userId="336a567d-735c-4805-ba8e-b6f07afebca7" providerId="ADAL" clId="{912005A8-5896-43A3-A369-790BF1F07D4B}" dt="2022-01-07T12:36:31.450" v="361" actId="20577"/>
          <ac:spMkLst>
            <pc:docMk/>
            <pc:sldMk cId="2822831896" sldId="5202"/>
            <ac:spMk id="4" creationId="{D3B062CF-9464-4A68-B9B7-F36C1E0E63C2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6" creationId="{2477F8AF-C27A-4F37-B49A-BB2D1FC6AA8E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7" creationId="{66E22772-5685-4C58-9D5B-F39566829338}"/>
          </ac:spMkLst>
        </pc:spChg>
        <pc:spChg chg="add del mod">
          <ac:chgData name="Per Hovde" userId="336a567d-735c-4805-ba8e-b6f07afebca7" providerId="ADAL" clId="{912005A8-5896-43A3-A369-790BF1F07D4B}" dt="2022-01-07T13:41:35.111" v="886" actId="6549"/>
          <ac:spMkLst>
            <pc:docMk/>
            <pc:sldMk cId="2822831896" sldId="5202"/>
            <ac:spMk id="8" creationId="{F1174274-1E1E-45A0-AD85-DBA69DD58E89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9" creationId="{812C9073-9232-461F-90B4-CAE4EF0CF1FC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0" creationId="{950B6BE2-4173-4A3B-A0C2-0C6287E829BA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1" creationId="{B125C08D-26BF-47F7-80E4-3C2D7B5BE313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2" creationId="{A40DA4E9-F768-4E0D-9623-F4B5E6941AD1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6" creationId="{C33639F2-995F-42A4-A534-3882BFB98245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7" creationId="{5D217909-E54F-49FA-B596-A4B4F2A3AA21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8" creationId="{9E81EDF0-7ECE-42B2-BDC5-917D8DF80ED9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19" creationId="{1AC09210-DD1E-449D-A6EF-F19DFE7299E9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20" creationId="{897162D9-9721-4188-9E15-72614880424D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21" creationId="{683241D0-9F8E-42DE-91CA-096E2DA608C8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22" creationId="{1C27B736-E9BA-45A0-BB55-4E7A1B54D2EE}"/>
          </ac:spMkLst>
        </pc:spChg>
        <pc:spChg chg="mod">
          <ac:chgData name="Per Hovde" userId="336a567d-735c-4805-ba8e-b6f07afebca7" providerId="ADAL" clId="{912005A8-5896-43A3-A369-790BF1F07D4B}" dt="2022-01-07T12:38:43.306" v="429" actId="120"/>
          <ac:spMkLst>
            <pc:docMk/>
            <pc:sldMk cId="2822831896" sldId="5202"/>
            <ac:spMk id="23" creationId="{144C1ECB-25A2-4529-A3BD-735B41308DB1}"/>
          </ac:spMkLst>
        </pc:spChg>
        <pc:spChg chg="add mod">
          <ac:chgData name="Per Hovde" userId="336a567d-735c-4805-ba8e-b6f07afebca7" providerId="ADAL" clId="{912005A8-5896-43A3-A369-790BF1F07D4B}" dt="2022-01-07T12:38:28.110" v="428" actId="120"/>
          <ac:spMkLst>
            <pc:docMk/>
            <pc:sldMk cId="2822831896" sldId="5202"/>
            <ac:spMk id="24" creationId="{9BA36985-CCFB-430E-B472-BD0D1DED3707}"/>
          </ac:spMkLst>
        </pc:spChg>
      </pc:sldChg>
      <pc:sldChg chg="ord">
        <pc:chgData name="Per Hovde" userId="336a567d-735c-4805-ba8e-b6f07afebca7" providerId="ADAL" clId="{912005A8-5896-43A3-A369-790BF1F07D4B}" dt="2022-01-07T14:00:18.155" v="1275"/>
        <pc:sldMkLst>
          <pc:docMk/>
          <pc:sldMk cId="318380988" sldId="5213"/>
        </pc:sldMkLst>
      </pc:sldChg>
      <pc:sldChg chg="modSp mod">
        <pc:chgData name="Per Hovde" userId="336a567d-735c-4805-ba8e-b6f07afebca7" providerId="ADAL" clId="{912005A8-5896-43A3-A369-790BF1F07D4B}" dt="2022-01-07T11:38:16.347" v="59" actId="20577"/>
        <pc:sldMkLst>
          <pc:docMk/>
          <pc:sldMk cId="1874421409" sldId="5444"/>
        </pc:sldMkLst>
        <pc:spChg chg="mod">
          <ac:chgData name="Per Hovde" userId="336a567d-735c-4805-ba8e-b6f07afebca7" providerId="ADAL" clId="{912005A8-5896-43A3-A369-790BF1F07D4B}" dt="2022-01-07T11:38:16.347" v="59" actId="20577"/>
          <ac:spMkLst>
            <pc:docMk/>
            <pc:sldMk cId="1874421409" sldId="5444"/>
            <ac:spMk id="2" creationId="{DDBF6E4A-91E5-4C2F-8C41-5F71718B62CA}"/>
          </ac:spMkLst>
        </pc:spChg>
      </pc:sldChg>
      <pc:sldChg chg="mod modShow">
        <pc:chgData name="Per Hovde" userId="336a567d-735c-4805-ba8e-b6f07afebca7" providerId="ADAL" clId="{912005A8-5896-43A3-A369-790BF1F07D4B}" dt="2022-01-07T11:37:05.653" v="40" actId="729"/>
        <pc:sldMkLst>
          <pc:docMk/>
          <pc:sldMk cId="1580138600" sldId="5457"/>
        </pc:sldMkLst>
      </pc:sldChg>
      <pc:sldChg chg="mod modShow">
        <pc:chgData name="Per Hovde" userId="336a567d-735c-4805-ba8e-b6f07afebca7" providerId="ADAL" clId="{912005A8-5896-43A3-A369-790BF1F07D4B}" dt="2022-01-07T11:37:36.944" v="41" actId="729"/>
        <pc:sldMkLst>
          <pc:docMk/>
          <pc:sldMk cId="2533510891" sldId="5460"/>
        </pc:sldMkLst>
      </pc:sldChg>
      <pc:sldChg chg="modSp mod">
        <pc:chgData name="Per Hovde" userId="336a567d-735c-4805-ba8e-b6f07afebca7" providerId="ADAL" clId="{912005A8-5896-43A3-A369-790BF1F07D4B}" dt="2022-01-07T11:39:40.322" v="60" actId="27636"/>
        <pc:sldMkLst>
          <pc:docMk/>
          <pc:sldMk cId="2311660597" sldId="5461"/>
        </pc:sldMkLst>
        <pc:spChg chg="mod">
          <ac:chgData name="Per Hovde" userId="336a567d-735c-4805-ba8e-b6f07afebca7" providerId="ADAL" clId="{912005A8-5896-43A3-A369-790BF1F07D4B}" dt="2022-01-07T11:39:40.322" v="60" actId="27636"/>
          <ac:spMkLst>
            <pc:docMk/>
            <pc:sldMk cId="2311660597" sldId="5461"/>
            <ac:spMk id="3" creationId="{6DB0F74A-B128-49E4-B409-3774C99D35C8}"/>
          </ac:spMkLst>
        </pc:spChg>
      </pc:sldChg>
      <pc:sldChg chg="modSp mod">
        <pc:chgData name="Per Hovde" userId="336a567d-735c-4805-ba8e-b6f07afebca7" providerId="ADAL" clId="{912005A8-5896-43A3-A369-790BF1F07D4B}" dt="2022-01-07T11:40:53.056" v="75" actId="20577"/>
        <pc:sldMkLst>
          <pc:docMk/>
          <pc:sldMk cId="204931653" sldId="5462"/>
        </pc:sldMkLst>
        <pc:spChg chg="mod">
          <ac:chgData name="Per Hovde" userId="336a567d-735c-4805-ba8e-b6f07afebca7" providerId="ADAL" clId="{912005A8-5896-43A3-A369-790BF1F07D4B}" dt="2022-01-07T11:40:53.056" v="75" actId="20577"/>
          <ac:spMkLst>
            <pc:docMk/>
            <pc:sldMk cId="204931653" sldId="5462"/>
            <ac:spMk id="3" creationId="{E270ABFC-DE3E-4327-9BAD-4687E1B9154E}"/>
          </ac:spMkLst>
        </pc:spChg>
      </pc:sldChg>
      <pc:sldChg chg="addSp delSp modSp new mod modClrScheme chgLayout">
        <pc:chgData name="Per Hovde" userId="336a567d-735c-4805-ba8e-b6f07afebca7" providerId="ADAL" clId="{912005A8-5896-43A3-A369-790BF1F07D4B}" dt="2022-01-07T14:00:46.714" v="1277" actId="700"/>
        <pc:sldMkLst>
          <pc:docMk/>
          <pc:sldMk cId="819980270" sldId="5463"/>
        </pc:sldMkLst>
        <pc:spChg chg="mod ord">
          <ac:chgData name="Per Hovde" userId="336a567d-735c-4805-ba8e-b6f07afebca7" providerId="ADAL" clId="{912005A8-5896-43A3-A369-790BF1F07D4B}" dt="2022-01-07T14:00:46.714" v="1277" actId="700"/>
          <ac:spMkLst>
            <pc:docMk/>
            <pc:sldMk cId="819980270" sldId="5463"/>
            <ac:spMk id="2" creationId="{B7DFB6C8-D879-4532-BC92-7CE0152754A0}"/>
          </ac:spMkLst>
        </pc:spChg>
        <pc:spChg chg="mod ord">
          <ac:chgData name="Per Hovde" userId="336a567d-735c-4805-ba8e-b6f07afebca7" providerId="ADAL" clId="{912005A8-5896-43A3-A369-790BF1F07D4B}" dt="2022-01-07T14:00:46.714" v="1277" actId="700"/>
          <ac:spMkLst>
            <pc:docMk/>
            <pc:sldMk cId="819980270" sldId="5463"/>
            <ac:spMk id="3" creationId="{2722D2E0-EED4-4359-BAAC-D9842AD91B94}"/>
          </ac:spMkLst>
        </pc:spChg>
        <pc:spChg chg="mod ord">
          <ac:chgData name="Per Hovde" userId="336a567d-735c-4805-ba8e-b6f07afebca7" providerId="ADAL" clId="{912005A8-5896-43A3-A369-790BF1F07D4B}" dt="2022-01-07T14:00:46.714" v="1277" actId="700"/>
          <ac:spMkLst>
            <pc:docMk/>
            <pc:sldMk cId="819980270" sldId="5463"/>
            <ac:spMk id="4" creationId="{801F1B23-172B-4F9C-90FB-06B109E00129}"/>
          </ac:spMkLst>
        </pc:spChg>
        <pc:spChg chg="add del mod ord">
          <ac:chgData name="Per Hovde" userId="336a567d-735c-4805-ba8e-b6f07afebca7" providerId="ADAL" clId="{912005A8-5896-43A3-A369-790BF1F07D4B}" dt="2022-01-07T14:00:46.714" v="1277" actId="700"/>
          <ac:spMkLst>
            <pc:docMk/>
            <pc:sldMk cId="819980270" sldId="5463"/>
            <ac:spMk id="5" creationId="{9008E7B9-8038-4390-8691-A66642A06A84}"/>
          </ac:spMkLst>
        </pc:spChg>
        <pc:spChg chg="add del mod ord">
          <ac:chgData name="Per Hovde" userId="336a567d-735c-4805-ba8e-b6f07afebca7" providerId="ADAL" clId="{912005A8-5896-43A3-A369-790BF1F07D4B}" dt="2022-01-07T14:00:46.714" v="1277" actId="700"/>
          <ac:spMkLst>
            <pc:docMk/>
            <pc:sldMk cId="819980270" sldId="5463"/>
            <ac:spMk id="6" creationId="{E7440E12-6823-417E-A6E6-5F6F84E4BEB1}"/>
          </ac:spMkLst>
        </pc:spChg>
        <pc:spChg chg="add mod ord">
          <ac:chgData name="Per Hovde" userId="336a567d-735c-4805-ba8e-b6f07afebca7" providerId="ADAL" clId="{912005A8-5896-43A3-A369-790BF1F07D4B}" dt="2022-01-07T14:00:46.714" v="1277" actId="700"/>
          <ac:spMkLst>
            <pc:docMk/>
            <pc:sldMk cId="819980270" sldId="5463"/>
            <ac:spMk id="7" creationId="{82E7279A-07B1-4549-970D-DD29D820625A}"/>
          </ac:spMkLst>
        </pc:spChg>
      </pc:sldChg>
      <pc:sldChg chg="addSp delSp modSp add mod ord">
        <pc:chgData name="Per Hovde" userId="336a567d-735c-4805-ba8e-b6f07afebca7" providerId="ADAL" clId="{912005A8-5896-43A3-A369-790BF1F07D4B}" dt="2022-01-07T14:01:21.880" v="1279"/>
        <pc:sldMkLst>
          <pc:docMk/>
          <pc:sldMk cId="721357093" sldId="5464"/>
        </pc:sldMkLst>
        <pc:spChg chg="mod">
          <ac:chgData name="Per Hovde" userId="336a567d-735c-4805-ba8e-b6f07afebca7" providerId="ADAL" clId="{912005A8-5896-43A3-A369-790BF1F07D4B}" dt="2022-01-07T12:53:46.491" v="477" actId="20577"/>
          <ac:spMkLst>
            <pc:docMk/>
            <pc:sldMk cId="721357093" sldId="5464"/>
            <ac:spMk id="4" creationId="{D3B062CF-9464-4A68-B9B7-F36C1E0E63C2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6" creationId="{2477F8AF-C27A-4F37-B49A-BB2D1FC6AA8E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7" creationId="{66E22772-5685-4C58-9D5B-F39566829338}"/>
          </ac:spMkLst>
        </pc:spChg>
        <pc:spChg chg="del mod">
          <ac:chgData name="Per Hovde" userId="336a567d-735c-4805-ba8e-b6f07afebca7" providerId="ADAL" clId="{912005A8-5896-43A3-A369-790BF1F07D4B}" dt="2022-01-07T12:46:05.864" v="438" actId="478"/>
          <ac:spMkLst>
            <pc:docMk/>
            <pc:sldMk cId="721357093" sldId="5464"/>
            <ac:spMk id="8" creationId="{F1174274-1E1E-45A0-AD85-DBA69DD58E89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9" creationId="{812C9073-9232-461F-90B4-CAE4EF0CF1FC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10" creationId="{950B6BE2-4173-4A3B-A0C2-0C6287E829BA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11" creationId="{B125C08D-26BF-47F7-80E4-3C2D7B5BE313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12" creationId="{A40DA4E9-F768-4E0D-9623-F4B5E6941AD1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16" creationId="{C33639F2-995F-42A4-A534-3882BFB98245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17" creationId="{5D217909-E54F-49FA-B596-A4B4F2A3AA21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18" creationId="{9E81EDF0-7ECE-42B2-BDC5-917D8DF80ED9}"/>
          </ac:spMkLst>
        </pc:spChg>
        <pc:spChg chg="del">
          <ac:chgData name="Per Hovde" userId="336a567d-735c-4805-ba8e-b6f07afebca7" providerId="ADAL" clId="{912005A8-5896-43A3-A369-790BF1F07D4B}" dt="2022-01-07T12:46:02.221" v="436" actId="478"/>
          <ac:spMkLst>
            <pc:docMk/>
            <pc:sldMk cId="721357093" sldId="5464"/>
            <ac:spMk id="19" creationId="{1AC09210-DD1E-449D-A6EF-F19DFE7299E9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20" creationId="{897162D9-9721-4188-9E15-72614880424D}"/>
          </ac:spMkLst>
        </pc:spChg>
        <pc:spChg chg="del">
          <ac:chgData name="Per Hovde" userId="336a567d-735c-4805-ba8e-b6f07afebca7" providerId="ADAL" clId="{912005A8-5896-43A3-A369-790BF1F07D4B}" dt="2022-01-07T12:46:00.072" v="434" actId="478"/>
          <ac:spMkLst>
            <pc:docMk/>
            <pc:sldMk cId="721357093" sldId="5464"/>
            <ac:spMk id="21" creationId="{683241D0-9F8E-42DE-91CA-096E2DA608C8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22" creationId="{1C27B736-E9BA-45A0-BB55-4E7A1B54D2EE}"/>
          </ac:spMkLst>
        </pc:spChg>
        <pc:spChg chg="del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23" creationId="{144C1ECB-25A2-4529-A3BD-735B41308DB1}"/>
          </ac:spMkLst>
        </pc:spChg>
        <pc:spChg chg="del mod">
          <ac:chgData name="Per Hovde" userId="336a567d-735c-4805-ba8e-b6f07afebca7" providerId="ADAL" clId="{912005A8-5896-43A3-A369-790BF1F07D4B}" dt="2022-01-07T12:46:57.201" v="440" actId="478"/>
          <ac:spMkLst>
            <pc:docMk/>
            <pc:sldMk cId="721357093" sldId="5464"/>
            <ac:spMk id="24" creationId="{9BA36985-CCFB-430E-B472-BD0D1DED3707}"/>
          </ac:spMkLst>
        </pc:spChg>
        <pc:spChg chg="add mod ord topLvl">
          <ac:chgData name="Per Hovde" userId="336a567d-735c-4805-ba8e-b6f07afebca7" providerId="ADAL" clId="{912005A8-5896-43A3-A369-790BF1F07D4B}" dt="2022-01-07T13:58:21.117" v="1245" actId="164"/>
          <ac:spMkLst>
            <pc:docMk/>
            <pc:sldMk cId="721357093" sldId="5464"/>
            <ac:spMk id="27" creationId="{8957C3C7-2D90-4CA5-8B9D-00ACC76C773B}"/>
          </ac:spMkLst>
        </pc:spChg>
        <pc:spChg chg="add mod ord">
          <ac:chgData name="Per Hovde" userId="336a567d-735c-4805-ba8e-b6f07afebca7" providerId="ADAL" clId="{912005A8-5896-43A3-A369-790BF1F07D4B}" dt="2022-01-07T13:57:05.331" v="1230" actId="166"/>
          <ac:spMkLst>
            <pc:docMk/>
            <pc:sldMk cId="721357093" sldId="5464"/>
            <ac:spMk id="28" creationId="{66993FB9-0FD0-43DA-8476-81B2B5D34852}"/>
          </ac:spMkLst>
        </pc:spChg>
        <pc:spChg chg="add mod ord topLvl">
          <ac:chgData name="Per Hovde" userId="336a567d-735c-4805-ba8e-b6f07afebca7" providerId="ADAL" clId="{912005A8-5896-43A3-A369-790BF1F07D4B}" dt="2022-01-07T13:58:33.872" v="1247" actId="164"/>
          <ac:spMkLst>
            <pc:docMk/>
            <pc:sldMk cId="721357093" sldId="5464"/>
            <ac:spMk id="32" creationId="{C49580A8-94DE-4AD0-813D-C41629D03D03}"/>
          </ac:spMkLst>
        </pc:spChg>
        <pc:spChg chg="add mod ord">
          <ac:chgData name="Per Hovde" userId="336a567d-735c-4805-ba8e-b6f07afebca7" providerId="ADAL" clId="{912005A8-5896-43A3-A369-790BF1F07D4B}" dt="2022-01-07T13:55:42.665" v="1216" actId="207"/>
          <ac:spMkLst>
            <pc:docMk/>
            <pc:sldMk cId="721357093" sldId="5464"/>
            <ac:spMk id="38" creationId="{C051C0D8-9C3E-4601-B664-3B5F048F46C4}"/>
          </ac:spMkLst>
        </pc:spChg>
        <pc:spChg chg="add mod">
          <ac:chgData name="Per Hovde" userId="336a567d-735c-4805-ba8e-b6f07afebca7" providerId="ADAL" clId="{912005A8-5896-43A3-A369-790BF1F07D4B}" dt="2022-01-07T13:59:46.212" v="1273" actId="2085"/>
          <ac:spMkLst>
            <pc:docMk/>
            <pc:sldMk cId="721357093" sldId="5464"/>
            <ac:spMk id="40" creationId="{4E4F22E1-E874-4028-A8B7-1C9AE9130C18}"/>
          </ac:spMkLst>
        </pc:spChg>
        <pc:grpChg chg="add del">
          <ac:chgData name="Per Hovde" userId="336a567d-735c-4805-ba8e-b6f07afebca7" providerId="ADAL" clId="{912005A8-5896-43A3-A369-790BF1F07D4B}" dt="2022-01-07T12:46:51.009" v="439" actId="478"/>
          <ac:grpSpMkLst>
            <pc:docMk/>
            <pc:sldMk cId="721357093" sldId="5464"/>
            <ac:grpSpMk id="14" creationId="{9B6DB22F-0D6C-495E-BAC5-4132FE9D0F46}"/>
          </ac:grpSpMkLst>
        </pc:grpChg>
        <pc:grpChg chg="add del mod ord">
          <ac:chgData name="Per Hovde" userId="336a567d-735c-4805-ba8e-b6f07afebca7" providerId="ADAL" clId="{912005A8-5896-43A3-A369-790BF1F07D4B}" dt="2022-01-07T13:58:14.996" v="1244" actId="165"/>
          <ac:grpSpMkLst>
            <pc:docMk/>
            <pc:sldMk cId="721357093" sldId="5464"/>
            <ac:grpSpMk id="29" creationId="{AE5C8F57-2C87-4691-B451-B1B059BA7211}"/>
          </ac:grpSpMkLst>
        </pc:grpChg>
        <pc:grpChg chg="add del mod">
          <ac:chgData name="Per Hovde" userId="336a567d-735c-4805-ba8e-b6f07afebca7" providerId="ADAL" clId="{912005A8-5896-43A3-A369-790BF1F07D4B}" dt="2022-01-07T13:51:59.439" v="1132" actId="165"/>
          <ac:grpSpMkLst>
            <pc:docMk/>
            <pc:sldMk cId="721357093" sldId="5464"/>
            <ac:grpSpMk id="37" creationId="{CBE5D8C1-5E4E-4602-8986-1153DE0E5A48}"/>
          </ac:grpSpMkLst>
        </pc:grpChg>
        <pc:grpChg chg="add del mod">
          <ac:chgData name="Per Hovde" userId="336a567d-735c-4805-ba8e-b6f07afebca7" providerId="ADAL" clId="{912005A8-5896-43A3-A369-790BF1F07D4B}" dt="2022-01-07T13:58:28.559" v="1246" actId="165"/>
          <ac:grpSpMkLst>
            <pc:docMk/>
            <pc:sldMk cId="721357093" sldId="5464"/>
            <ac:grpSpMk id="41" creationId="{AB040583-3732-4E49-AC31-0332C01814EC}"/>
          </ac:grpSpMkLst>
        </pc:grpChg>
        <pc:grpChg chg="add mod">
          <ac:chgData name="Per Hovde" userId="336a567d-735c-4805-ba8e-b6f07afebca7" providerId="ADAL" clId="{912005A8-5896-43A3-A369-790BF1F07D4B}" dt="2022-01-07T13:59:27.520" v="1272" actId="1038"/>
          <ac:grpSpMkLst>
            <pc:docMk/>
            <pc:sldMk cId="721357093" sldId="5464"/>
            <ac:grpSpMk id="44" creationId="{EA3D9CC2-CE12-491B-B550-2AFC522EE2AB}"/>
          </ac:grpSpMkLst>
        </pc:grpChg>
        <pc:grpChg chg="add mod">
          <ac:chgData name="Per Hovde" userId="336a567d-735c-4805-ba8e-b6f07afebca7" providerId="ADAL" clId="{912005A8-5896-43A3-A369-790BF1F07D4B}" dt="2022-01-07T13:58:33.872" v="1247" actId="164"/>
          <ac:grpSpMkLst>
            <pc:docMk/>
            <pc:sldMk cId="721357093" sldId="5464"/>
            <ac:grpSpMk id="45" creationId="{C3E34260-8BCA-453A-A0FA-FC154BD89862}"/>
          </ac:grpSpMkLst>
        </pc:grpChg>
        <pc:picChg chg="del">
          <ac:chgData name="Per Hovde" userId="336a567d-735c-4805-ba8e-b6f07afebca7" providerId="ADAL" clId="{912005A8-5896-43A3-A369-790BF1F07D4B}" dt="2022-01-07T12:45:40.937" v="433" actId="478"/>
          <ac:picMkLst>
            <pc:docMk/>
            <pc:sldMk cId="721357093" sldId="5464"/>
            <ac:picMk id="3" creationId="{2455DEBB-F394-4415-98C2-DF73AA0B9725}"/>
          </ac:picMkLst>
        </pc:picChg>
        <pc:picChg chg="add del mod">
          <ac:chgData name="Per Hovde" userId="336a567d-735c-4805-ba8e-b6f07afebca7" providerId="ADAL" clId="{912005A8-5896-43A3-A369-790BF1F07D4B}" dt="2022-01-07T13:44:58.010" v="998" actId="478"/>
          <ac:picMkLst>
            <pc:docMk/>
            <pc:sldMk cId="721357093" sldId="5464"/>
            <ac:picMk id="5" creationId="{39CFAA78-4AD2-4112-AC1F-60609A7023FB}"/>
          </ac:picMkLst>
        </pc:picChg>
        <pc:picChg chg="add mod topLvl">
          <ac:chgData name="Per Hovde" userId="336a567d-735c-4805-ba8e-b6f07afebca7" providerId="ADAL" clId="{912005A8-5896-43A3-A369-790BF1F07D4B}" dt="2022-01-07T13:58:21.117" v="1245" actId="164"/>
          <ac:picMkLst>
            <pc:docMk/>
            <pc:sldMk cId="721357093" sldId="5464"/>
            <ac:picMk id="26" creationId="{094E7647-8039-4C74-B495-704D6664DCF4}"/>
          </ac:picMkLst>
        </pc:picChg>
        <pc:picChg chg="add mod">
          <ac:chgData name="Per Hovde" userId="336a567d-735c-4805-ba8e-b6f07afebca7" providerId="ADAL" clId="{912005A8-5896-43A3-A369-790BF1F07D4B}" dt="2022-01-07T13:54:23.465" v="1215" actId="1037"/>
          <ac:picMkLst>
            <pc:docMk/>
            <pc:sldMk cId="721357093" sldId="5464"/>
            <ac:picMk id="30" creationId="{26850D4A-EE14-4BF7-9170-C941B7FA7A71}"/>
          </ac:picMkLst>
        </pc:picChg>
        <pc:picChg chg="add del mod">
          <ac:chgData name="Per Hovde" userId="336a567d-735c-4805-ba8e-b6f07afebca7" providerId="ADAL" clId="{912005A8-5896-43A3-A369-790BF1F07D4B}" dt="2022-01-07T13:29:53.996" v="662" actId="478"/>
          <ac:picMkLst>
            <pc:docMk/>
            <pc:sldMk cId="721357093" sldId="5464"/>
            <ac:picMk id="31" creationId="{42879156-7FDF-45B2-B7A7-E77A6580AD8F}"/>
          </ac:picMkLst>
        </pc:picChg>
        <pc:picChg chg="add del mod">
          <ac:chgData name="Per Hovde" userId="336a567d-735c-4805-ba8e-b6f07afebca7" providerId="ADAL" clId="{912005A8-5896-43A3-A369-790BF1F07D4B}" dt="2022-01-07T13:33:00.538" v="741" actId="478"/>
          <ac:picMkLst>
            <pc:docMk/>
            <pc:sldMk cId="721357093" sldId="5464"/>
            <ac:picMk id="33" creationId="{A7EDCDB2-958F-43D2-A08E-1AFBFA1F314B}"/>
          </ac:picMkLst>
        </pc:picChg>
        <pc:picChg chg="add del">
          <ac:chgData name="Per Hovde" userId="336a567d-735c-4805-ba8e-b6f07afebca7" providerId="ADAL" clId="{912005A8-5896-43A3-A369-790BF1F07D4B}" dt="2022-01-07T13:32:51.980" v="739" actId="478"/>
          <ac:picMkLst>
            <pc:docMk/>
            <pc:sldMk cId="721357093" sldId="5464"/>
            <ac:picMk id="34" creationId="{DA639C00-7078-46B2-8618-DDCD70DEFE98}"/>
          </ac:picMkLst>
        </pc:picChg>
        <pc:picChg chg="add mod topLvl">
          <ac:chgData name="Per Hovde" userId="336a567d-735c-4805-ba8e-b6f07afebca7" providerId="ADAL" clId="{912005A8-5896-43A3-A369-790BF1F07D4B}" dt="2022-01-07T13:58:33.872" v="1247" actId="164"/>
          <ac:picMkLst>
            <pc:docMk/>
            <pc:sldMk cId="721357093" sldId="5464"/>
            <ac:picMk id="36" creationId="{406B980C-1EB2-4793-991B-FF3942035769}"/>
          </ac:picMkLst>
        </pc:picChg>
        <pc:picChg chg="add mod ord">
          <ac:chgData name="Per Hovde" userId="336a567d-735c-4805-ba8e-b6f07afebca7" providerId="ADAL" clId="{912005A8-5896-43A3-A369-790BF1F07D4B}" dt="2022-01-07T13:46:50.358" v="1035" actId="167"/>
          <ac:picMkLst>
            <pc:docMk/>
            <pc:sldMk cId="721357093" sldId="5464"/>
            <ac:picMk id="39" creationId="{04DF9F9A-21D4-41F1-AAD2-D0CFD4B9CA96}"/>
          </ac:picMkLst>
        </pc:picChg>
        <pc:picChg chg="add mod">
          <ac:chgData name="Per Hovde" userId="336a567d-735c-4805-ba8e-b6f07afebca7" providerId="ADAL" clId="{912005A8-5896-43A3-A369-790BF1F07D4B}" dt="2022-01-07T13:59:27.520" v="1272" actId="1038"/>
          <ac:picMkLst>
            <pc:docMk/>
            <pc:sldMk cId="721357093" sldId="5464"/>
            <ac:picMk id="43" creationId="{60BC7159-2A8F-4508-B6F1-5F86E9ADE67F}"/>
          </ac:picMkLst>
        </pc:picChg>
      </pc:sldChg>
      <pc:sldChg chg="add del">
        <pc:chgData name="Per Hovde" userId="336a567d-735c-4805-ba8e-b6f07afebca7" providerId="ADAL" clId="{912005A8-5896-43A3-A369-790BF1F07D4B}" dt="2022-01-07T12:37:00.472" v="363"/>
        <pc:sldMkLst>
          <pc:docMk/>
          <pc:sldMk cId="1190671037" sldId="5464"/>
        </pc:sldMkLst>
      </pc:sldChg>
      <pc:sldChg chg="addSp delSp modSp add del mod">
        <pc:chgData name="Per Hovde" userId="336a567d-735c-4805-ba8e-b6f07afebca7" providerId="ADAL" clId="{912005A8-5896-43A3-A369-790BF1F07D4B}" dt="2022-01-07T14:01:43.439" v="1284" actId="47"/>
        <pc:sldMkLst>
          <pc:docMk/>
          <pc:sldMk cId="2756035669" sldId="5465"/>
        </pc:sldMkLst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6" creationId="{2477F8AF-C27A-4F37-B49A-BB2D1FC6AA8E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7" creationId="{66E22772-5685-4C58-9D5B-F39566829338}"/>
          </ac:spMkLst>
        </pc:spChg>
        <pc:spChg chg="del">
          <ac:chgData name="Per Hovde" userId="336a567d-735c-4805-ba8e-b6f07afebca7" providerId="ADAL" clId="{912005A8-5896-43A3-A369-790BF1F07D4B}" dt="2022-01-07T13:41:47.601" v="889" actId="478"/>
          <ac:spMkLst>
            <pc:docMk/>
            <pc:sldMk cId="2756035669" sldId="5465"/>
            <ac:spMk id="8" creationId="{F1174274-1E1E-45A0-AD85-DBA69DD58E89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9" creationId="{812C9073-9232-461F-90B4-CAE4EF0CF1FC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10" creationId="{950B6BE2-4173-4A3B-A0C2-0C6287E829BA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11" creationId="{B125C08D-26BF-47F7-80E4-3C2D7B5BE313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12" creationId="{A40DA4E9-F768-4E0D-9623-F4B5E6941AD1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16" creationId="{C33639F2-995F-42A4-A534-3882BFB98245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17" creationId="{5D217909-E54F-49FA-B596-A4B4F2A3AA21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18" creationId="{9E81EDF0-7ECE-42B2-BDC5-917D8DF80ED9}"/>
          </ac:spMkLst>
        </pc:spChg>
        <pc:spChg chg="del">
          <ac:chgData name="Per Hovde" userId="336a567d-735c-4805-ba8e-b6f07afebca7" providerId="ADAL" clId="{912005A8-5896-43A3-A369-790BF1F07D4B}" dt="2022-01-07T13:41:51.046" v="890" actId="478"/>
          <ac:spMkLst>
            <pc:docMk/>
            <pc:sldMk cId="2756035669" sldId="5465"/>
            <ac:spMk id="19" creationId="{1AC09210-DD1E-449D-A6EF-F19DFE7299E9}"/>
          </ac:spMkLst>
        </pc:spChg>
        <pc:spChg chg="del">
          <ac:chgData name="Per Hovde" userId="336a567d-735c-4805-ba8e-b6f07afebca7" providerId="ADAL" clId="{912005A8-5896-43A3-A369-790BF1F07D4B}" dt="2022-01-07T13:42:01.994" v="894" actId="478"/>
          <ac:spMkLst>
            <pc:docMk/>
            <pc:sldMk cId="2756035669" sldId="5465"/>
            <ac:spMk id="20" creationId="{897162D9-9721-4188-9E15-72614880424D}"/>
          </ac:spMkLst>
        </pc:spChg>
        <pc:spChg chg="del">
          <ac:chgData name="Per Hovde" userId="336a567d-735c-4805-ba8e-b6f07afebca7" providerId="ADAL" clId="{912005A8-5896-43A3-A369-790BF1F07D4B}" dt="2022-01-07T13:41:53.639" v="891" actId="478"/>
          <ac:spMkLst>
            <pc:docMk/>
            <pc:sldMk cId="2756035669" sldId="5465"/>
            <ac:spMk id="21" creationId="{683241D0-9F8E-42DE-91CA-096E2DA608C8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22" creationId="{1C27B736-E9BA-45A0-BB55-4E7A1B54D2EE}"/>
          </ac:spMkLst>
        </pc:spChg>
        <pc:spChg chg="del">
          <ac:chgData name="Per Hovde" userId="336a567d-735c-4805-ba8e-b6f07afebca7" providerId="ADAL" clId="{912005A8-5896-43A3-A369-790BF1F07D4B}" dt="2022-01-07T13:42:12.808" v="897" actId="478"/>
          <ac:spMkLst>
            <pc:docMk/>
            <pc:sldMk cId="2756035669" sldId="5465"/>
            <ac:spMk id="23" creationId="{144C1ECB-25A2-4529-A3BD-735B41308DB1}"/>
          </ac:spMkLst>
        </pc:spChg>
        <pc:spChg chg="del mod">
          <ac:chgData name="Per Hovde" userId="336a567d-735c-4805-ba8e-b6f07afebca7" providerId="ADAL" clId="{912005A8-5896-43A3-A369-790BF1F07D4B}" dt="2022-01-07T13:41:59.674" v="893" actId="478"/>
          <ac:spMkLst>
            <pc:docMk/>
            <pc:sldMk cId="2756035669" sldId="5465"/>
            <ac:spMk id="24" creationId="{9BA36985-CCFB-430E-B472-BD0D1DED3707}"/>
          </ac:spMkLst>
        </pc:spChg>
        <pc:grpChg chg="add mod">
          <ac:chgData name="Per Hovde" userId="336a567d-735c-4805-ba8e-b6f07afebca7" providerId="ADAL" clId="{912005A8-5896-43A3-A369-790BF1F07D4B}" dt="2022-01-07T13:43:28.088" v="997" actId="164"/>
          <ac:grpSpMkLst>
            <pc:docMk/>
            <pc:sldMk cId="2756035669" sldId="5465"/>
            <ac:grpSpMk id="5" creationId="{32DB2115-DB7C-4A1F-A9DB-02EA73706F15}"/>
          </ac:grpSpMkLst>
        </pc:grpChg>
        <pc:grpChg chg="add del mod">
          <ac:chgData name="Per Hovde" userId="336a567d-735c-4805-ba8e-b6f07afebca7" providerId="ADAL" clId="{912005A8-5896-43A3-A369-790BF1F07D4B}" dt="2022-01-07T13:42:51.976" v="901" actId="165"/>
          <ac:grpSpMkLst>
            <pc:docMk/>
            <pc:sldMk cId="2756035669" sldId="5465"/>
            <ac:grpSpMk id="14" creationId="{9B6DB22F-0D6C-495E-BAC5-4132FE9D0F46}"/>
          </ac:grpSpMkLst>
        </pc:grpChg>
        <pc:picChg chg="mod topLvl">
          <ac:chgData name="Per Hovde" userId="336a567d-735c-4805-ba8e-b6f07afebca7" providerId="ADAL" clId="{912005A8-5896-43A3-A369-790BF1F07D4B}" dt="2022-01-07T13:43:28.088" v="997" actId="164"/>
          <ac:picMkLst>
            <pc:docMk/>
            <pc:sldMk cId="2756035669" sldId="5465"/>
            <ac:picMk id="2" creationId="{08B60EBC-FEA4-4E93-BDDC-7C6AF2223594}"/>
          </ac:picMkLst>
        </pc:picChg>
        <pc:picChg chg="add del mod topLvl">
          <ac:chgData name="Per Hovde" userId="336a567d-735c-4805-ba8e-b6f07afebca7" providerId="ADAL" clId="{912005A8-5896-43A3-A369-790BF1F07D4B}" dt="2022-01-07T13:43:02.042" v="902" actId="478"/>
          <ac:picMkLst>
            <pc:docMk/>
            <pc:sldMk cId="2756035669" sldId="5465"/>
            <ac:picMk id="3" creationId="{2455DEBB-F394-4415-98C2-DF73AA0B9725}"/>
          </ac:picMkLst>
        </pc:picChg>
        <pc:picChg chg="mod topLvl">
          <ac:chgData name="Per Hovde" userId="336a567d-735c-4805-ba8e-b6f07afebca7" providerId="ADAL" clId="{912005A8-5896-43A3-A369-790BF1F07D4B}" dt="2022-01-07T13:43:28.088" v="997" actId="164"/>
          <ac:picMkLst>
            <pc:docMk/>
            <pc:sldMk cId="2756035669" sldId="5465"/>
            <ac:picMk id="13" creationId="{82986092-20BB-4F00-8435-4E0A8BDA254E}"/>
          </ac:picMkLst>
        </pc:picChg>
      </pc:sldChg>
      <pc:sldChg chg="add del">
        <pc:chgData name="Per Hovde" userId="336a567d-735c-4805-ba8e-b6f07afebca7" providerId="ADAL" clId="{912005A8-5896-43A3-A369-790BF1F07D4B}" dt="2022-01-07T13:41:36.295" v="887" actId="2890"/>
        <pc:sldMkLst>
          <pc:docMk/>
          <pc:sldMk cId="2921443293" sldId="5465"/>
        </pc:sldMkLst>
      </pc:sldChg>
    </pc:docChg>
  </pc:docChgLst>
  <pc:docChgLst>
    <pc:chgData name="Per Hovde" userId="336a567d-735c-4805-ba8e-b6f07afebca7" providerId="ADAL" clId="{56F93F0C-67B7-421F-8B9F-146E6AD455AE}"/>
    <pc:docChg chg="undo custSel modSld">
      <pc:chgData name="Per Hovde" userId="336a567d-735c-4805-ba8e-b6f07afebca7" providerId="ADAL" clId="{56F93F0C-67B7-421F-8B9F-146E6AD455AE}" dt="2022-01-11T08:34:20.067" v="8"/>
      <pc:docMkLst>
        <pc:docMk/>
      </pc:docMkLst>
      <pc:sldChg chg="modSp mod">
        <pc:chgData name="Per Hovde" userId="336a567d-735c-4805-ba8e-b6f07afebca7" providerId="ADAL" clId="{56F93F0C-67B7-421F-8B9F-146E6AD455AE}" dt="2022-01-11T08:34:20.067" v="8"/>
        <pc:sldMkLst>
          <pc:docMk/>
          <pc:sldMk cId="1580138600" sldId="5457"/>
        </pc:sldMkLst>
        <pc:spChg chg="mod">
          <ac:chgData name="Per Hovde" userId="336a567d-735c-4805-ba8e-b6f07afebca7" providerId="ADAL" clId="{56F93F0C-67B7-421F-8B9F-146E6AD455AE}" dt="2022-01-11T08:34:20.067" v="8"/>
          <ac:spMkLst>
            <pc:docMk/>
            <pc:sldMk cId="1580138600" sldId="5457"/>
            <ac:spMk id="3" creationId="{5B26B046-4E26-4A11-9AEB-945F239C4063}"/>
          </ac:spMkLst>
        </pc:spChg>
      </pc:sldChg>
    </pc:docChg>
  </pc:docChgLst>
  <pc:docChgLst>
    <pc:chgData name="Per Hovde" userId="336a567d-735c-4805-ba8e-b6f07afebca7" providerId="ADAL" clId="{CB580856-5493-431D-AE34-8464573C8745}"/>
    <pc:docChg chg="undo redo custSel addSld delSld modSld sldOrd">
      <pc:chgData name="Per Hovde" userId="336a567d-735c-4805-ba8e-b6f07afebca7" providerId="ADAL" clId="{CB580856-5493-431D-AE34-8464573C8745}" dt="2021-11-09T09:56:08.911" v="5612" actId="20577"/>
      <pc:docMkLst>
        <pc:docMk/>
      </pc:docMkLst>
      <pc:sldChg chg="addSp modSp mod ord modClrScheme chgLayout">
        <pc:chgData name="Per Hovde" userId="336a567d-735c-4805-ba8e-b6f07afebca7" providerId="ADAL" clId="{CB580856-5493-431D-AE34-8464573C8745}" dt="2021-11-08T07:25:26.647" v="3996"/>
        <pc:sldMkLst>
          <pc:docMk/>
          <pc:sldMk cId="2639478547" sldId="257"/>
        </pc:sldMkLst>
        <pc:spChg chg="add mod ord">
          <ac:chgData name="Per Hovde" userId="336a567d-735c-4805-ba8e-b6f07afebca7" providerId="ADAL" clId="{CB580856-5493-431D-AE34-8464573C8745}" dt="2021-11-08T07:24:17.924" v="3940" actId="20577"/>
          <ac:spMkLst>
            <pc:docMk/>
            <pc:sldMk cId="2639478547" sldId="257"/>
            <ac:spMk id="2" creationId="{749B74AE-5770-4F43-A91C-4FCD0FEC211F}"/>
          </ac:spMkLst>
        </pc:spChg>
        <pc:picChg chg="mod">
          <ac:chgData name="Per Hovde" userId="336a567d-735c-4805-ba8e-b6f07afebca7" providerId="ADAL" clId="{CB580856-5493-431D-AE34-8464573C8745}" dt="2021-11-07T19:17:04.256" v="110" actId="14100"/>
          <ac:picMkLst>
            <pc:docMk/>
            <pc:sldMk cId="2639478547" sldId="257"/>
            <ac:picMk id="5" creationId="{057302FC-1ECF-4711-9906-435082D9A57F}"/>
          </ac:picMkLst>
        </pc:picChg>
      </pc:sldChg>
      <pc:sldChg chg="modSp mod">
        <pc:chgData name="Per Hovde" userId="336a567d-735c-4805-ba8e-b6f07afebca7" providerId="ADAL" clId="{CB580856-5493-431D-AE34-8464573C8745}" dt="2021-11-09T09:52:59.486" v="5546" actId="20577"/>
        <pc:sldMkLst>
          <pc:docMk/>
          <pc:sldMk cId="362900805" sldId="279"/>
        </pc:sldMkLst>
        <pc:spChg chg="mod">
          <ac:chgData name="Per Hovde" userId="336a567d-735c-4805-ba8e-b6f07afebca7" providerId="ADAL" clId="{CB580856-5493-431D-AE34-8464573C8745}" dt="2021-11-08T06:21:49.629" v="1988" actId="207"/>
          <ac:spMkLst>
            <pc:docMk/>
            <pc:sldMk cId="362900805" sldId="279"/>
            <ac:spMk id="16" creationId="{103C8FF0-216E-4E7D-9B66-CC7359BF832E}"/>
          </ac:spMkLst>
        </pc:spChg>
        <pc:spChg chg="mod">
          <ac:chgData name="Per Hovde" userId="336a567d-735c-4805-ba8e-b6f07afebca7" providerId="ADAL" clId="{CB580856-5493-431D-AE34-8464573C8745}" dt="2021-11-08T06:19:49.018" v="1924" actId="207"/>
          <ac:spMkLst>
            <pc:docMk/>
            <pc:sldMk cId="362900805" sldId="279"/>
            <ac:spMk id="17" creationId="{1CF173CF-CE6F-42E4-A9B5-B48792F91205}"/>
          </ac:spMkLst>
        </pc:spChg>
        <pc:spChg chg="mod">
          <ac:chgData name="Per Hovde" userId="336a567d-735c-4805-ba8e-b6f07afebca7" providerId="ADAL" clId="{CB580856-5493-431D-AE34-8464573C8745}" dt="2021-11-08T06:20:36.115" v="1926" actId="207"/>
          <ac:spMkLst>
            <pc:docMk/>
            <pc:sldMk cId="362900805" sldId="279"/>
            <ac:spMk id="27" creationId="{2A45CD88-7CC9-4AB0-8B68-D455746C3DA3}"/>
          </ac:spMkLst>
        </pc:spChg>
        <pc:spChg chg="mod">
          <ac:chgData name="Per Hovde" userId="336a567d-735c-4805-ba8e-b6f07afebca7" providerId="ADAL" clId="{CB580856-5493-431D-AE34-8464573C8745}" dt="2021-11-08T06:21:09.842" v="1987" actId="207"/>
          <ac:spMkLst>
            <pc:docMk/>
            <pc:sldMk cId="362900805" sldId="279"/>
            <ac:spMk id="28" creationId="{157CFCE9-BF14-4BD6-81E4-6B57C727ABDD}"/>
          </ac:spMkLst>
        </pc:spChg>
        <pc:spChg chg="mod">
          <ac:chgData name="Per Hovde" userId="336a567d-735c-4805-ba8e-b6f07afebca7" providerId="ADAL" clId="{CB580856-5493-431D-AE34-8464573C8745}" dt="2021-11-08T06:20:36.115" v="1926" actId="207"/>
          <ac:spMkLst>
            <pc:docMk/>
            <pc:sldMk cId="362900805" sldId="279"/>
            <ac:spMk id="29" creationId="{2D900998-A477-4897-9066-324596508D36}"/>
          </ac:spMkLst>
        </pc:spChg>
        <pc:spChg chg="mod">
          <ac:chgData name="Per Hovde" userId="336a567d-735c-4805-ba8e-b6f07afebca7" providerId="ADAL" clId="{CB580856-5493-431D-AE34-8464573C8745}" dt="2021-11-08T06:21:09.842" v="1987" actId="207"/>
          <ac:spMkLst>
            <pc:docMk/>
            <pc:sldMk cId="362900805" sldId="279"/>
            <ac:spMk id="30" creationId="{58A462AF-8FAE-4C73-A77F-F2E0B85D6A28}"/>
          </ac:spMkLst>
        </pc:spChg>
        <pc:spChg chg="mod">
          <ac:chgData name="Per Hovde" userId="336a567d-735c-4805-ba8e-b6f07afebca7" providerId="ADAL" clId="{CB580856-5493-431D-AE34-8464573C8745}" dt="2021-11-08T06:20:36.115" v="1926" actId="207"/>
          <ac:spMkLst>
            <pc:docMk/>
            <pc:sldMk cId="362900805" sldId="279"/>
            <ac:spMk id="31" creationId="{9437E064-9ADD-43C9-80CD-E0542EE769A1}"/>
          </ac:spMkLst>
        </pc:spChg>
        <pc:spChg chg="mod">
          <ac:chgData name="Per Hovde" userId="336a567d-735c-4805-ba8e-b6f07afebca7" providerId="ADAL" clId="{CB580856-5493-431D-AE34-8464573C8745}" dt="2021-11-08T06:21:09.842" v="1987" actId="207"/>
          <ac:spMkLst>
            <pc:docMk/>
            <pc:sldMk cId="362900805" sldId="279"/>
            <ac:spMk id="32" creationId="{31B34132-10D6-4455-8406-CFA7E00F29C3}"/>
          </ac:spMkLst>
        </pc:spChg>
        <pc:spChg chg="mod">
          <ac:chgData name="Per Hovde" userId="336a567d-735c-4805-ba8e-b6f07afebca7" providerId="ADAL" clId="{CB580856-5493-431D-AE34-8464573C8745}" dt="2021-11-08T06:20:36.115" v="1926" actId="207"/>
          <ac:spMkLst>
            <pc:docMk/>
            <pc:sldMk cId="362900805" sldId="279"/>
            <ac:spMk id="33" creationId="{F18BFF74-083D-49C8-BCF8-23300E294C61}"/>
          </ac:spMkLst>
        </pc:spChg>
        <pc:spChg chg="mod">
          <ac:chgData name="Per Hovde" userId="336a567d-735c-4805-ba8e-b6f07afebca7" providerId="ADAL" clId="{CB580856-5493-431D-AE34-8464573C8745}" dt="2021-11-09T09:52:59.486" v="5546" actId="20577"/>
          <ac:spMkLst>
            <pc:docMk/>
            <pc:sldMk cId="362900805" sldId="279"/>
            <ac:spMk id="34" creationId="{2B8C3C39-E7BF-4FA1-8EE8-4EEF8BBDDD26}"/>
          </ac:spMkLst>
        </pc:spChg>
        <pc:spChg chg="mod">
          <ac:chgData name="Per Hovde" userId="336a567d-735c-4805-ba8e-b6f07afebca7" providerId="ADAL" clId="{CB580856-5493-431D-AE34-8464573C8745}" dt="2021-11-08T06:21:49.629" v="1988" actId="207"/>
          <ac:spMkLst>
            <pc:docMk/>
            <pc:sldMk cId="362900805" sldId="279"/>
            <ac:spMk id="36" creationId="{E802A008-B6D1-45E2-8AC4-789B07B66AC9}"/>
          </ac:spMkLst>
        </pc:spChg>
        <pc:spChg chg="mod">
          <ac:chgData name="Per Hovde" userId="336a567d-735c-4805-ba8e-b6f07afebca7" providerId="ADAL" clId="{CB580856-5493-431D-AE34-8464573C8745}" dt="2021-11-08T06:19:49.018" v="1924" actId="207"/>
          <ac:spMkLst>
            <pc:docMk/>
            <pc:sldMk cId="362900805" sldId="279"/>
            <ac:spMk id="44" creationId="{9DACA83A-BC38-457A-BAF5-C02649A4F1E8}"/>
          </ac:spMkLst>
        </pc:spChg>
        <pc:spChg chg="mod">
          <ac:chgData name="Per Hovde" userId="336a567d-735c-4805-ba8e-b6f07afebca7" providerId="ADAL" clId="{CB580856-5493-431D-AE34-8464573C8745}" dt="2021-11-08T06:21:58.543" v="1989" actId="207"/>
          <ac:spMkLst>
            <pc:docMk/>
            <pc:sldMk cId="362900805" sldId="279"/>
            <ac:spMk id="51" creationId="{43D7C5E9-C90B-485A-B313-2911D844E9F7}"/>
          </ac:spMkLst>
        </pc:spChg>
        <pc:spChg chg="mod">
          <ac:chgData name="Per Hovde" userId="336a567d-735c-4805-ba8e-b6f07afebca7" providerId="ADAL" clId="{CB580856-5493-431D-AE34-8464573C8745}" dt="2021-11-08T06:21:58.543" v="1989" actId="207"/>
          <ac:spMkLst>
            <pc:docMk/>
            <pc:sldMk cId="362900805" sldId="279"/>
            <ac:spMk id="53" creationId="{56B2DF4A-D351-4BF5-83F3-4E27F0C6847D}"/>
          </ac:spMkLst>
        </pc:spChg>
      </pc:sldChg>
      <pc:sldChg chg="modSp mod">
        <pc:chgData name="Per Hovde" userId="336a567d-735c-4805-ba8e-b6f07afebca7" providerId="ADAL" clId="{CB580856-5493-431D-AE34-8464573C8745}" dt="2021-11-08T06:22:57.445" v="2048" actId="14100"/>
        <pc:sldMkLst>
          <pc:docMk/>
          <pc:sldMk cId="1487953720" sldId="1002"/>
        </pc:sldMkLst>
        <pc:spChg chg="mod">
          <ac:chgData name="Per Hovde" userId="336a567d-735c-4805-ba8e-b6f07afebca7" providerId="ADAL" clId="{CB580856-5493-431D-AE34-8464573C8745}" dt="2021-11-08T06:22:57.445" v="2048" actId="14100"/>
          <ac:spMkLst>
            <pc:docMk/>
            <pc:sldMk cId="1487953720" sldId="1002"/>
            <ac:spMk id="2" creationId="{7C8A331D-91CE-4C5E-AE53-01C12CB5F8B4}"/>
          </ac:spMkLst>
        </pc:spChg>
      </pc:sldChg>
      <pc:sldChg chg="addSp delSp modSp del mod modShow">
        <pc:chgData name="Per Hovde" userId="336a567d-735c-4805-ba8e-b6f07afebca7" providerId="ADAL" clId="{CB580856-5493-431D-AE34-8464573C8745}" dt="2021-11-08T07:24:26.988" v="3941" actId="47"/>
        <pc:sldMkLst>
          <pc:docMk/>
          <pc:sldMk cId="3352911990" sldId="1003"/>
        </pc:sldMkLst>
        <pc:picChg chg="add mod">
          <ac:chgData name="Per Hovde" userId="336a567d-735c-4805-ba8e-b6f07afebca7" providerId="ADAL" clId="{CB580856-5493-431D-AE34-8464573C8745}" dt="2021-11-08T07:03:18.516" v="3309" actId="14100"/>
          <ac:picMkLst>
            <pc:docMk/>
            <pc:sldMk cId="3352911990" sldId="1003"/>
            <ac:picMk id="8" creationId="{B8D2E336-8E5D-4DC3-979B-86F7A9547E06}"/>
          </ac:picMkLst>
        </pc:picChg>
        <pc:picChg chg="del">
          <ac:chgData name="Per Hovde" userId="336a567d-735c-4805-ba8e-b6f07afebca7" providerId="ADAL" clId="{CB580856-5493-431D-AE34-8464573C8745}" dt="2021-11-08T07:02:59.559" v="3303" actId="478"/>
          <ac:picMkLst>
            <pc:docMk/>
            <pc:sldMk cId="3352911990" sldId="1003"/>
            <ac:picMk id="20" creationId="{C0B506E8-14D9-4E9A-9C60-52EF0D2531A5}"/>
          </ac:picMkLst>
        </pc:picChg>
      </pc:sldChg>
      <pc:sldChg chg="delSp modSp del mod">
        <pc:chgData name="Per Hovde" userId="336a567d-735c-4805-ba8e-b6f07afebca7" providerId="ADAL" clId="{CB580856-5493-431D-AE34-8464573C8745}" dt="2021-11-09T09:53:32.301" v="5548" actId="47"/>
        <pc:sldMkLst>
          <pc:docMk/>
          <pc:sldMk cId="2102682551" sldId="1004"/>
        </pc:sldMkLst>
        <pc:spChg chg="mod">
          <ac:chgData name="Per Hovde" userId="336a567d-735c-4805-ba8e-b6f07afebca7" providerId="ADAL" clId="{CB580856-5493-431D-AE34-8464573C8745}" dt="2021-11-08T07:58:12.666" v="4163" actId="5793"/>
          <ac:spMkLst>
            <pc:docMk/>
            <pc:sldMk cId="2102682551" sldId="1004"/>
            <ac:spMk id="2" creationId="{863DACB0-38AE-4CE9-9FBF-C8E34AF6CEFD}"/>
          </ac:spMkLst>
        </pc:spChg>
        <pc:spChg chg="del mod">
          <ac:chgData name="Per Hovde" userId="336a567d-735c-4805-ba8e-b6f07afebca7" providerId="ADAL" clId="{CB580856-5493-431D-AE34-8464573C8745}" dt="2021-11-08T07:58:04.001" v="4159" actId="478"/>
          <ac:spMkLst>
            <pc:docMk/>
            <pc:sldMk cId="2102682551" sldId="1004"/>
            <ac:spMk id="5" creationId="{989CAE94-4B42-4E8D-913B-CF588B97C515}"/>
          </ac:spMkLst>
        </pc:spChg>
      </pc:sldChg>
      <pc:sldChg chg="addSp delSp modSp del mod">
        <pc:chgData name="Per Hovde" userId="336a567d-735c-4805-ba8e-b6f07afebca7" providerId="ADAL" clId="{CB580856-5493-431D-AE34-8464573C8745}" dt="2021-11-08T07:59:48.868" v="4192" actId="47"/>
        <pc:sldMkLst>
          <pc:docMk/>
          <pc:sldMk cId="1611098868" sldId="1005"/>
        </pc:sldMkLst>
        <pc:spChg chg="del">
          <ac:chgData name="Per Hovde" userId="336a567d-735c-4805-ba8e-b6f07afebca7" providerId="ADAL" clId="{CB580856-5493-431D-AE34-8464573C8745}" dt="2021-11-08T07:57:08.298" v="4147" actId="478"/>
          <ac:spMkLst>
            <pc:docMk/>
            <pc:sldMk cId="1611098868" sldId="1005"/>
            <ac:spMk id="2" creationId="{863DACB0-38AE-4CE9-9FBF-C8E34AF6CEFD}"/>
          </ac:spMkLst>
        </pc:spChg>
        <pc:spChg chg="add mod">
          <ac:chgData name="Per Hovde" userId="336a567d-735c-4805-ba8e-b6f07afebca7" providerId="ADAL" clId="{CB580856-5493-431D-AE34-8464573C8745}" dt="2021-11-08T07:58:33.413" v="4171" actId="5793"/>
          <ac:spMkLst>
            <pc:docMk/>
            <pc:sldMk cId="1611098868" sldId="1005"/>
            <ac:spMk id="15" creationId="{4E90DD10-C438-468D-B3C1-B7CD07C197B6}"/>
          </ac:spMkLst>
        </pc:spChg>
        <pc:picChg chg="add mod">
          <ac:chgData name="Per Hovde" userId="336a567d-735c-4805-ba8e-b6f07afebca7" providerId="ADAL" clId="{CB580856-5493-431D-AE34-8464573C8745}" dt="2021-11-08T07:05:22.031" v="3330" actId="1038"/>
          <ac:picMkLst>
            <pc:docMk/>
            <pc:sldMk cId="1611098868" sldId="1005"/>
            <ac:picMk id="13" creationId="{C3AB031B-87FE-42A9-8C27-8C7B0D02C24B}"/>
          </ac:picMkLst>
        </pc:picChg>
        <pc:picChg chg="del">
          <ac:chgData name="Per Hovde" userId="336a567d-735c-4805-ba8e-b6f07afebca7" providerId="ADAL" clId="{CB580856-5493-431D-AE34-8464573C8745}" dt="2021-11-08T07:04:54.560" v="3326" actId="478"/>
          <ac:picMkLst>
            <pc:docMk/>
            <pc:sldMk cId="1611098868" sldId="1005"/>
            <ac:picMk id="20" creationId="{C0B506E8-14D9-4E9A-9C60-52EF0D2531A5}"/>
          </ac:picMkLst>
        </pc:picChg>
      </pc:sldChg>
      <pc:sldChg chg="addSp delSp modSp del mod">
        <pc:chgData name="Per Hovde" userId="336a567d-735c-4805-ba8e-b6f07afebca7" providerId="ADAL" clId="{CB580856-5493-431D-AE34-8464573C8745}" dt="2021-11-09T09:29:28.759" v="5363" actId="47"/>
        <pc:sldMkLst>
          <pc:docMk/>
          <pc:sldMk cId="3279122707" sldId="1006"/>
        </pc:sldMkLst>
        <pc:spChg chg="del">
          <ac:chgData name="Per Hovde" userId="336a567d-735c-4805-ba8e-b6f07afebca7" providerId="ADAL" clId="{CB580856-5493-431D-AE34-8464573C8745}" dt="2021-11-08T07:57:14.121" v="4149" actId="478"/>
          <ac:spMkLst>
            <pc:docMk/>
            <pc:sldMk cId="3279122707" sldId="1006"/>
            <ac:spMk id="2" creationId="{863DACB0-38AE-4CE9-9FBF-C8E34AF6CEFD}"/>
          </ac:spMkLst>
        </pc:spChg>
        <pc:spChg chg="mod">
          <ac:chgData name="Per Hovde" userId="336a567d-735c-4805-ba8e-b6f07afebca7" providerId="ADAL" clId="{CB580856-5493-431D-AE34-8464573C8745}" dt="2021-11-09T08:51:55.664" v="5002" actId="120"/>
          <ac:spMkLst>
            <pc:docMk/>
            <pc:sldMk cId="3279122707" sldId="1006"/>
            <ac:spMk id="5" creationId="{989CAE94-4B42-4E8D-913B-CF588B97C515}"/>
          </ac:spMkLst>
        </pc:spChg>
        <pc:spChg chg="mod">
          <ac:chgData name="Per Hovde" userId="336a567d-735c-4805-ba8e-b6f07afebca7" providerId="ADAL" clId="{CB580856-5493-431D-AE34-8464573C8745}" dt="2021-11-09T08:51:57.604" v="5003" actId="120"/>
          <ac:spMkLst>
            <pc:docMk/>
            <pc:sldMk cId="3279122707" sldId="1006"/>
            <ac:spMk id="6" creationId="{5937AAA9-F623-4247-98B5-B2B59F2B9185}"/>
          </ac:spMkLst>
        </pc:spChg>
        <pc:spChg chg="add mod">
          <ac:chgData name="Per Hovde" userId="336a567d-735c-4805-ba8e-b6f07afebca7" providerId="ADAL" clId="{CB580856-5493-431D-AE34-8464573C8745}" dt="2021-11-08T07:58:36.923" v="4175" actId="5793"/>
          <ac:spMkLst>
            <pc:docMk/>
            <pc:sldMk cId="3279122707" sldId="1006"/>
            <ac:spMk id="17" creationId="{FFA01300-FFFB-4E2F-8399-7ACF2234CCFA}"/>
          </ac:spMkLst>
        </pc:spChg>
        <pc:spChg chg="del">
          <ac:chgData name="Per Hovde" userId="336a567d-735c-4805-ba8e-b6f07afebca7" providerId="ADAL" clId="{CB580856-5493-431D-AE34-8464573C8745}" dt="2021-11-08T07:59:32.546" v="4190" actId="478"/>
          <ac:spMkLst>
            <pc:docMk/>
            <pc:sldMk cId="3279122707" sldId="1006"/>
            <ac:spMk id="25" creationId="{D4BBA1C6-EBA5-4BB4-8B47-86447B5F34B5}"/>
          </ac:spMkLst>
        </pc:spChg>
        <pc:spChg chg="add mod">
          <ac:chgData name="Per Hovde" userId="336a567d-735c-4805-ba8e-b6f07afebca7" providerId="ADAL" clId="{CB580856-5493-431D-AE34-8464573C8745}" dt="2021-11-09T09:08:12.522" v="5124" actId="1035"/>
          <ac:spMkLst>
            <pc:docMk/>
            <pc:sldMk cId="3279122707" sldId="1006"/>
            <ac:spMk id="40" creationId="{3972C8E8-316A-45DB-BF04-562E431CD41F}"/>
          </ac:spMkLst>
        </pc:spChg>
        <pc:picChg chg="add mod">
          <ac:chgData name="Per Hovde" userId="336a567d-735c-4805-ba8e-b6f07afebca7" providerId="ADAL" clId="{CB580856-5493-431D-AE34-8464573C8745}" dt="2021-11-09T09:08:44.173" v="5127" actId="1076"/>
          <ac:picMkLst>
            <pc:docMk/>
            <pc:sldMk cId="3279122707" sldId="1006"/>
            <ac:picMk id="8" creationId="{818939BD-B446-41F4-A278-BDAD1E1AE690}"/>
          </ac:picMkLst>
        </pc:picChg>
        <pc:picChg chg="mod">
          <ac:chgData name="Per Hovde" userId="336a567d-735c-4805-ba8e-b6f07afebca7" providerId="ADAL" clId="{CB580856-5493-431D-AE34-8464573C8745}" dt="2021-11-09T08:51:34.430" v="4997" actId="1035"/>
          <ac:picMkLst>
            <pc:docMk/>
            <pc:sldMk cId="3279122707" sldId="1006"/>
            <ac:picMk id="10" creationId="{0033021A-DCC1-483B-92FC-04006E9AB059}"/>
          </ac:picMkLst>
        </pc:picChg>
        <pc:picChg chg="mod">
          <ac:chgData name="Per Hovde" userId="336a567d-735c-4805-ba8e-b6f07afebca7" providerId="ADAL" clId="{CB580856-5493-431D-AE34-8464573C8745}" dt="2021-11-09T08:51:34.430" v="4997" actId="1035"/>
          <ac:picMkLst>
            <pc:docMk/>
            <pc:sldMk cId="3279122707" sldId="1006"/>
            <ac:picMk id="14" creationId="{36E2B7F1-1013-43C2-9011-77A005CD69F8}"/>
          </ac:picMkLst>
        </pc:picChg>
        <pc:picChg chg="add del mod">
          <ac:chgData name="Per Hovde" userId="336a567d-735c-4805-ba8e-b6f07afebca7" providerId="ADAL" clId="{CB580856-5493-431D-AE34-8464573C8745}" dt="2021-11-08T07:06:08.186" v="3336" actId="478"/>
          <ac:picMkLst>
            <pc:docMk/>
            <pc:sldMk cId="3279122707" sldId="1006"/>
            <ac:picMk id="15" creationId="{1221C649-FA66-42CD-B3F1-51586818A532}"/>
          </ac:picMkLst>
        </pc:picChg>
        <pc:picChg chg="add mod">
          <ac:chgData name="Per Hovde" userId="336a567d-735c-4805-ba8e-b6f07afebca7" providerId="ADAL" clId="{CB580856-5493-431D-AE34-8464573C8745}" dt="2021-11-09T08:51:34.430" v="4997" actId="1035"/>
          <ac:picMkLst>
            <pc:docMk/>
            <pc:sldMk cId="3279122707" sldId="1006"/>
            <ac:picMk id="16" creationId="{A081E4F1-AAC2-4308-AEE7-B51FF06E05BD}"/>
          </ac:picMkLst>
        </pc:picChg>
        <pc:picChg chg="mod">
          <ac:chgData name="Per Hovde" userId="336a567d-735c-4805-ba8e-b6f07afebca7" providerId="ADAL" clId="{CB580856-5493-431D-AE34-8464573C8745}" dt="2021-11-09T08:51:34.430" v="4997" actId="1035"/>
          <ac:picMkLst>
            <pc:docMk/>
            <pc:sldMk cId="3279122707" sldId="1006"/>
            <ac:picMk id="18" creationId="{AEA0F132-B68F-4422-9DBC-C86CD2ABC29B}"/>
          </ac:picMkLst>
        </pc:picChg>
        <pc:picChg chg="del">
          <ac:chgData name="Per Hovde" userId="336a567d-735c-4805-ba8e-b6f07afebca7" providerId="ADAL" clId="{CB580856-5493-431D-AE34-8464573C8745}" dt="2021-11-09T08:32:26.433" v="4918" actId="478"/>
          <ac:picMkLst>
            <pc:docMk/>
            <pc:sldMk cId="3279122707" sldId="1006"/>
            <ac:picMk id="20" creationId="{C0B506E8-14D9-4E9A-9C60-52EF0D2531A5}"/>
          </ac:picMkLst>
        </pc:picChg>
        <pc:picChg chg="add mod">
          <ac:chgData name="Per Hovde" userId="336a567d-735c-4805-ba8e-b6f07afebca7" providerId="ADAL" clId="{CB580856-5493-431D-AE34-8464573C8745}" dt="2021-11-09T09:08:46.224" v="5128" actId="1076"/>
          <ac:picMkLst>
            <pc:docMk/>
            <pc:sldMk cId="3279122707" sldId="1006"/>
            <ac:picMk id="21" creationId="{6CFE8A98-4043-4E44-9F38-1537D125565B}"/>
          </ac:picMkLst>
        </pc:picChg>
        <pc:picChg chg="mod">
          <ac:chgData name="Per Hovde" userId="336a567d-735c-4805-ba8e-b6f07afebca7" providerId="ADAL" clId="{CB580856-5493-431D-AE34-8464573C8745}" dt="2021-11-09T08:51:34.430" v="4997" actId="1035"/>
          <ac:picMkLst>
            <pc:docMk/>
            <pc:sldMk cId="3279122707" sldId="1006"/>
            <ac:picMk id="22" creationId="{9091AD32-DBC4-4D2D-84DB-AAEACD9A0E63}"/>
          </ac:picMkLst>
        </pc:picChg>
        <pc:picChg chg="add del">
          <ac:chgData name="Per Hovde" userId="336a567d-735c-4805-ba8e-b6f07afebca7" providerId="ADAL" clId="{CB580856-5493-431D-AE34-8464573C8745}" dt="2021-11-09T08:50:16.774" v="4971" actId="22"/>
          <ac:picMkLst>
            <pc:docMk/>
            <pc:sldMk cId="3279122707" sldId="1006"/>
            <ac:picMk id="26" creationId="{5BE1E15D-7588-4229-9F09-B06721F6E5E9}"/>
          </ac:picMkLst>
        </pc:picChg>
        <pc:picChg chg="add mod">
          <ac:chgData name="Per Hovde" userId="336a567d-735c-4805-ba8e-b6f07afebca7" providerId="ADAL" clId="{CB580856-5493-431D-AE34-8464573C8745}" dt="2021-11-09T09:08:12.522" v="5124" actId="1035"/>
          <ac:picMkLst>
            <pc:docMk/>
            <pc:sldMk cId="3279122707" sldId="1006"/>
            <ac:picMk id="28" creationId="{C1C58CE6-046B-43A0-948A-551DD2F8BD03}"/>
          </ac:picMkLst>
        </pc:picChg>
        <pc:picChg chg="add mod">
          <ac:chgData name="Per Hovde" userId="336a567d-735c-4805-ba8e-b6f07afebca7" providerId="ADAL" clId="{CB580856-5493-431D-AE34-8464573C8745}" dt="2021-11-09T09:08:12.522" v="5124" actId="1035"/>
          <ac:picMkLst>
            <pc:docMk/>
            <pc:sldMk cId="3279122707" sldId="1006"/>
            <ac:picMk id="36" creationId="{9A65859F-DECA-4346-A167-0B74FFB7038A}"/>
          </ac:picMkLst>
        </pc:picChg>
        <pc:cxnChg chg="mod">
          <ac:chgData name="Per Hovde" userId="336a567d-735c-4805-ba8e-b6f07afebca7" providerId="ADAL" clId="{CB580856-5493-431D-AE34-8464573C8745}" dt="2021-11-09T09:13:48.315" v="5179" actId="692"/>
          <ac:cxnSpMkLst>
            <pc:docMk/>
            <pc:sldMk cId="3279122707" sldId="1006"/>
            <ac:cxnSpMk id="24" creationId="{0E39D62F-0448-4301-8C30-D86D057C75C5}"/>
          </ac:cxnSpMkLst>
        </pc:cxnChg>
        <pc:cxnChg chg="del mod">
          <ac:chgData name="Per Hovde" userId="336a567d-735c-4805-ba8e-b6f07afebca7" providerId="ADAL" clId="{CB580856-5493-431D-AE34-8464573C8745}" dt="2021-11-08T07:59:39.889" v="4191" actId="478"/>
          <ac:cxnSpMkLst>
            <pc:docMk/>
            <pc:sldMk cId="3279122707" sldId="1006"/>
            <ac:cxnSpMk id="35" creationId="{EB3228E3-79A9-4304-B3CB-F5CF005A54FF}"/>
          </ac:cxnSpMkLst>
        </pc:cxnChg>
        <pc:cxnChg chg="add mod">
          <ac:chgData name="Per Hovde" userId="336a567d-735c-4805-ba8e-b6f07afebca7" providerId="ADAL" clId="{CB580856-5493-431D-AE34-8464573C8745}" dt="2021-11-09T09:08:12.522" v="5124" actId="1035"/>
          <ac:cxnSpMkLst>
            <pc:docMk/>
            <pc:sldMk cId="3279122707" sldId="1006"/>
            <ac:cxnSpMk id="38" creationId="{0F5950D2-000A-4F4B-B5E7-63C2CE379EA0}"/>
          </ac:cxnSpMkLst>
        </pc:cxnChg>
      </pc:sldChg>
      <pc:sldChg chg="addSp delSp modSp del mod">
        <pc:chgData name="Per Hovde" userId="336a567d-735c-4805-ba8e-b6f07afebca7" providerId="ADAL" clId="{CB580856-5493-431D-AE34-8464573C8745}" dt="2021-11-09T09:30:01.178" v="5366" actId="47"/>
        <pc:sldMkLst>
          <pc:docMk/>
          <pc:sldMk cId="2409243478" sldId="1007"/>
        </pc:sldMkLst>
        <pc:spChg chg="del">
          <ac:chgData name="Per Hovde" userId="336a567d-735c-4805-ba8e-b6f07afebca7" providerId="ADAL" clId="{CB580856-5493-431D-AE34-8464573C8745}" dt="2021-11-08T07:57:21.168" v="4151" actId="478"/>
          <ac:spMkLst>
            <pc:docMk/>
            <pc:sldMk cId="2409243478" sldId="1007"/>
            <ac:spMk id="2" creationId="{863DACB0-38AE-4CE9-9FBF-C8E34AF6CEFD}"/>
          </ac:spMkLst>
        </pc:spChg>
        <pc:spChg chg="add mod">
          <ac:chgData name="Per Hovde" userId="336a567d-735c-4805-ba8e-b6f07afebca7" providerId="ADAL" clId="{CB580856-5493-431D-AE34-8464573C8745}" dt="2021-11-08T07:58:41.419" v="4179" actId="5793"/>
          <ac:spMkLst>
            <pc:docMk/>
            <pc:sldMk cId="2409243478" sldId="1007"/>
            <ac:spMk id="19" creationId="{8FE0EE14-40A0-4AC2-8D8C-4A0AAEA95CAF}"/>
          </ac:spMkLst>
        </pc:spChg>
        <pc:spChg chg="del">
          <ac:chgData name="Per Hovde" userId="336a567d-735c-4805-ba8e-b6f07afebca7" providerId="ADAL" clId="{CB580856-5493-431D-AE34-8464573C8745}" dt="2021-11-08T07:59:22.248" v="4188" actId="478"/>
          <ac:spMkLst>
            <pc:docMk/>
            <pc:sldMk cId="2409243478" sldId="1007"/>
            <ac:spMk id="25" creationId="{D4BBA1C6-EBA5-4BB4-8B47-86447B5F34B5}"/>
          </ac:spMkLst>
        </pc:spChg>
        <pc:picChg chg="add del mod">
          <ac:chgData name="Per Hovde" userId="336a567d-735c-4805-ba8e-b6f07afebca7" providerId="ADAL" clId="{CB580856-5493-431D-AE34-8464573C8745}" dt="2021-11-08T07:06:12.073" v="3338" actId="478"/>
          <ac:picMkLst>
            <pc:docMk/>
            <pc:sldMk cId="2409243478" sldId="1007"/>
            <ac:picMk id="16" creationId="{632BB69B-3E49-422A-AB35-48362CDD7788}"/>
          </ac:picMkLst>
        </pc:picChg>
        <pc:picChg chg="add mod">
          <ac:chgData name="Per Hovde" userId="336a567d-735c-4805-ba8e-b6f07afebca7" providerId="ADAL" clId="{CB580856-5493-431D-AE34-8464573C8745}" dt="2021-11-08T07:06:12.720" v="3339"/>
          <ac:picMkLst>
            <pc:docMk/>
            <pc:sldMk cId="2409243478" sldId="1007"/>
            <ac:picMk id="17" creationId="{12042E22-7BBD-4D66-9B0D-C60FFAE3DE47}"/>
          </ac:picMkLst>
        </pc:picChg>
        <pc:picChg chg="del">
          <ac:chgData name="Per Hovde" userId="336a567d-735c-4805-ba8e-b6f07afebca7" providerId="ADAL" clId="{CB580856-5493-431D-AE34-8464573C8745}" dt="2021-11-08T07:04:45.217" v="3323" actId="478"/>
          <ac:picMkLst>
            <pc:docMk/>
            <pc:sldMk cId="2409243478" sldId="1007"/>
            <ac:picMk id="20" creationId="{C0B506E8-14D9-4E9A-9C60-52EF0D2531A5}"/>
          </ac:picMkLst>
        </pc:picChg>
        <pc:cxnChg chg="del mod">
          <ac:chgData name="Per Hovde" userId="336a567d-735c-4805-ba8e-b6f07afebca7" providerId="ADAL" clId="{CB580856-5493-431D-AE34-8464573C8745}" dt="2021-11-08T07:59:25.458" v="4189" actId="478"/>
          <ac:cxnSpMkLst>
            <pc:docMk/>
            <pc:sldMk cId="2409243478" sldId="1007"/>
            <ac:cxnSpMk id="35" creationId="{EB3228E3-79A9-4304-B3CB-F5CF005A54FF}"/>
          </ac:cxnSpMkLst>
        </pc:cxnChg>
      </pc:sldChg>
      <pc:sldChg chg="addSp delSp modSp del mod">
        <pc:chgData name="Per Hovde" userId="336a567d-735c-4805-ba8e-b6f07afebca7" providerId="ADAL" clId="{CB580856-5493-431D-AE34-8464573C8745}" dt="2021-11-09T09:30:06.147" v="5367" actId="47"/>
        <pc:sldMkLst>
          <pc:docMk/>
          <pc:sldMk cId="3443957672" sldId="1008"/>
        </pc:sldMkLst>
        <pc:spChg chg="del mod">
          <ac:chgData name="Per Hovde" userId="336a567d-735c-4805-ba8e-b6f07afebca7" providerId="ADAL" clId="{CB580856-5493-431D-AE34-8464573C8745}" dt="2021-11-08T07:57:27.810" v="4153" actId="478"/>
          <ac:spMkLst>
            <pc:docMk/>
            <pc:sldMk cId="3443957672" sldId="1008"/>
            <ac:spMk id="2" creationId="{863DACB0-38AE-4CE9-9FBF-C8E34AF6CEFD}"/>
          </ac:spMkLst>
        </pc:spChg>
        <pc:spChg chg="add del mod ord">
          <ac:chgData name="Per Hovde" userId="336a567d-735c-4805-ba8e-b6f07afebca7" providerId="ADAL" clId="{CB580856-5493-431D-AE34-8464573C8745}" dt="2021-11-08T08:00:14.259" v="4196" actId="478"/>
          <ac:spMkLst>
            <pc:docMk/>
            <pc:sldMk cId="3443957672" sldId="1008"/>
            <ac:spMk id="7" creationId="{88AD86D3-E75C-4E4A-B31E-B8E64637C455}"/>
          </ac:spMkLst>
        </pc:spChg>
        <pc:spChg chg="del">
          <ac:chgData name="Per Hovde" userId="336a567d-735c-4805-ba8e-b6f07afebca7" providerId="ADAL" clId="{CB580856-5493-431D-AE34-8464573C8745}" dt="2021-11-08T07:59:58.908" v="4193" actId="478"/>
          <ac:spMkLst>
            <pc:docMk/>
            <pc:sldMk cId="3443957672" sldId="1008"/>
            <ac:spMk id="25" creationId="{D4BBA1C6-EBA5-4BB4-8B47-86447B5F34B5}"/>
          </ac:spMkLst>
        </pc:spChg>
        <pc:spChg chg="add mod">
          <ac:chgData name="Per Hovde" userId="336a567d-735c-4805-ba8e-b6f07afebca7" providerId="ADAL" clId="{CB580856-5493-431D-AE34-8464573C8745}" dt="2021-11-08T07:58:45.864" v="4183" actId="5793"/>
          <ac:spMkLst>
            <pc:docMk/>
            <pc:sldMk cId="3443957672" sldId="1008"/>
            <ac:spMk id="26" creationId="{026755D0-BD93-4EBB-AE67-EB28009A758E}"/>
          </ac:spMkLst>
        </pc:spChg>
        <pc:picChg chg="del">
          <ac:chgData name="Per Hovde" userId="336a567d-735c-4805-ba8e-b6f07afebca7" providerId="ADAL" clId="{CB580856-5493-431D-AE34-8464573C8745}" dt="2021-11-08T07:04:29.985" v="3318" actId="478"/>
          <ac:picMkLst>
            <pc:docMk/>
            <pc:sldMk cId="3443957672" sldId="1008"/>
            <ac:picMk id="20" creationId="{C0B506E8-14D9-4E9A-9C60-52EF0D2531A5}"/>
          </ac:picMkLst>
        </pc:picChg>
        <pc:picChg chg="add del mod">
          <ac:chgData name="Per Hovde" userId="336a567d-735c-4805-ba8e-b6f07afebca7" providerId="ADAL" clId="{CB580856-5493-431D-AE34-8464573C8745}" dt="2021-11-08T07:06:17.829" v="3340" actId="478"/>
          <ac:picMkLst>
            <pc:docMk/>
            <pc:sldMk cId="3443957672" sldId="1008"/>
            <ac:picMk id="21" creationId="{0F8CF20B-11B5-41E8-98F2-3FF9B0F3F3D4}"/>
          </ac:picMkLst>
        </pc:picChg>
        <pc:picChg chg="add mod">
          <ac:chgData name="Per Hovde" userId="336a567d-735c-4805-ba8e-b6f07afebca7" providerId="ADAL" clId="{CB580856-5493-431D-AE34-8464573C8745}" dt="2021-11-08T07:06:18.923" v="3341"/>
          <ac:picMkLst>
            <pc:docMk/>
            <pc:sldMk cId="3443957672" sldId="1008"/>
            <ac:picMk id="23" creationId="{FC9AFC1F-7A0E-40AC-9D60-09C8DA0C6986}"/>
          </ac:picMkLst>
        </pc:picChg>
        <pc:cxnChg chg="del mod">
          <ac:chgData name="Per Hovde" userId="336a567d-735c-4805-ba8e-b6f07afebca7" providerId="ADAL" clId="{CB580856-5493-431D-AE34-8464573C8745}" dt="2021-11-08T08:00:02.569" v="4194" actId="478"/>
          <ac:cxnSpMkLst>
            <pc:docMk/>
            <pc:sldMk cId="3443957672" sldId="1008"/>
            <ac:cxnSpMk id="35" creationId="{EB3228E3-79A9-4304-B3CB-F5CF005A54FF}"/>
          </ac:cxnSpMkLst>
        </pc:cxnChg>
      </pc:sldChg>
      <pc:sldChg chg="addSp delSp modSp del mod">
        <pc:chgData name="Per Hovde" userId="336a567d-735c-4805-ba8e-b6f07afebca7" providerId="ADAL" clId="{CB580856-5493-431D-AE34-8464573C8745}" dt="2021-11-09T09:30:08.075" v="5369" actId="47"/>
        <pc:sldMkLst>
          <pc:docMk/>
          <pc:sldMk cId="1031217130" sldId="1009"/>
        </pc:sldMkLst>
        <pc:spChg chg="del">
          <ac:chgData name="Per Hovde" userId="336a567d-735c-4805-ba8e-b6f07afebca7" providerId="ADAL" clId="{CB580856-5493-431D-AE34-8464573C8745}" dt="2021-11-08T07:57:34.906" v="4155" actId="478"/>
          <ac:spMkLst>
            <pc:docMk/>
            <pc:sldMk cId="1031217130" sldId="1009"/>
            <ac:spMk id="2" creationId="{863DACB0-38AE-4CE9-9FBF-C8E34AF6CEFD}"/>
          </ac:spMkLst>
        </pc:spChg>
        <pc:spChg chg="add mod">
          <ac:chgData name="Per Hovde" userId="336a567d-735c-4805-ba8e-b6f07afebca7" providerId="ADAL" clId="{CB580856-5493-431D-AE34-8464573C8745}" dt="2021-11-08T07:58:51.036" v="4187" actId="5793"/>
          <ac:spMkLst>
            <pc:docMk/>
            <pc:sldMk cId="1031217130" sldId="1009"/>
            <ac:spMk id="23" creationId="{A9FF5A63-7CC3-4464-9E66-1757C1E203B3}"/>
          </ac:spMkLst>
        </pc:spChg>
        <pc:spChg chg="mod">
          <ac:chgData name="Per Hovde" userId="336a567d-735c-4805-ba8e-b6f07afebca7" providerId="ADAL" clId="{CB580856-5493-431D-AE34-8464573C8745}" dt="2021-11-08T08:19:02.502" v="4591" actId="1037"/>
          <ac:spMkLst>
            <pc:docMk/>
            <pc:sldMk cId="1031217130" sldId="1009"/>
            <ac:spMk id="25" creationId="{D4BBA1C6-EBA5-4BB4-8B47-86447B5F34B5}"/>
          </ac:spMkLst>
        </pc:spChg>
        <pc:spChg chg="del">
          <ac:chgData name="Per Hovde" userId="336a567d-735c-4805-ba8e-b6f07afebca7" providerId="ADAL" clId="{CB580856-5493-431D-AE34-8464573C8745}" dt="2021-11-08T08:00:47.777" v="4198" actId="478"/>
          <ac:spMkLst>
            <pc:docMk/>
            <pc:sldMk cId="1031217130" sldId="1009"/>
            <ac:spMk id="28" creationId="{C344179B-7478-48FF-B986-96722279098B}"/>
          </ac:spMkLst>
        </pc:spChg>
        <pc:spChg chg="add mod">
          <ac:chgData name="Per Hovde" userId="336a567d-735c-4805-ba8e-b6f07afebca7" providerId="ADAL" clId="{CB580856-5493-431D-AE34-8464573C8745}" dt="2021-11-08T08:16:40.380" v="4488" actId="1038"/>
          <ac:spMkLst>
            <pc:docMk/>
            <pc:sldMk cId="1031217130" sldId="1009"/>
            <ac:spMk id="31" creationId="{86706CDB-4A97-4B9B-8204-6903876CB57B}"/>
          </ac:spMkLst>
        </pc:spChg>
        <pc:picChg chg="del">
          <ac:chgData name="Per Hovde" userId="336a567d-735c-4805-ba8e-b6f07afebca7" providerId="ADAL" clId="{CB580856-5493-431D-AE34-8464573C8745}" dt="2021-11-08T07:06:24.771" v="3342" actId="478"/>
          <ac:picMkLst>
            <pc:docMk/>
            <pc:sldMk cId="1031217130" sldId="1009"/>
            <ac:picMk id="20" creationId="{C0B506E8-14D9-4E9A-9C60-52EF0D2531A5}"/>
          </ac:picMkLst>
        </pc:picChg>
        <pc:picChg chg="add mod">
          <ac:chgData name="Per Hovde" userId="336a567d-735c-4805-ba8e-b6f07afebca7" providerId="ADAL" clId="{CB580856-5493-431D-AE34-8464573C8745}" dt="2021-11-08T07:06:25.605" v="3343"/>
          <ac:picMkLst>
            <pc:docMk/>
            <pc:sldMk cId="1031217130" sldId="1009"/>
            <ac:picMk id="21" creationId="{40D90385-2A0A-4A10-9337-59B4F00EB5CD}"/>
          </ac:picMkLst>
        </pc:picChg>
        <pc:cxnChg chg="add mod">
          <ac:chgData name="Per Hovde" userId="336a567d-735c-4805-ba8e-b6f07afebca7" providerId="ADAL" clId="{CB580856-5493-431D-AE34-8464573C8745}" dt="2021-11-08T08:19:08.210" v="4592" actId="14100"/>
          <ac:cxnSpMkLst>
            <pc:docMk/>
            <pc:sldMk cId="1031217130" sldId="1009"/>
            <ac:cxnSpMk id="26" creationId="{533C88E8-C1C4-4081-94A5-B8C1056EB958}"/>
          </ac:cxnSpMkLst>
        </pc:cxnChg>
        <pc:cxnChg chg="mod">
          <ac:chgData name="Per Hovde" userId="336a567d-735c-4805-ba8e-b6f07afebca7" providerId="ADAL" clId="{CB580856-5493-431D-AE34-8464573C8745}" dt="2021-11-08T08:19:13.154" v="4593" actId="14100"/>
          <ac:cxnSpMkLst>
            <pc:docMk/>
            <pc:sldMk cId="1031217130" sldId="1009"/>
            <ac:cxnSpMk id="35" creationId="{EB3228E3-79A9-4304-B3CB-F5CF005A54FF}"/>
          </ac:cxnSpMkLst>
        </pc:cxnChg>
      </pc:sldChg>
      <pc:sldChg chg="addSp delSp modSp new mod modClrScheme chgLayout">
        <pc:chgData name="Per Hovde" userId="336a567d-735c-4805-ba8e-b6f07afebca7" providerId="ADAL" clId="{CB580856-5493-431D-AE34-8464573C8745}" dt="2021-11-07T19:20:13.764" v="113" actId="14100"/>
        <pc:sldMkLst>
          <pc:docMk/>
          <pc:sldMk cId="2818985734" sldId="1010"/>
        </pc:sldMkLst>
        <pc:spChg chg="del">
          <ac:chgData name="Per Hovde" userId="336a567d-735c-4805-ba8e-b6f07afebca7" providerId="ADAL" clId="{CB580856-5493-431D-AE34-8464573C8745}" dt="2021-11-07T19:05:55.308" v="1" actId="700"/>
          <ac:spMkLst>
            <pc:docMk/>
            <pc:sldMk cId="2818985734" sldId="1010"/>
            <ac:spMk id="2" creationId="{1E2BF2ED-738F-439D-B21F-411D8C55821B}"/>
          </ac:spMkLst>
        </pc:spChg>
        <pc:spChg chg="del">
          <ac:chgData name="Per Hovde" userId="336a567d-735c-4805-ba8e-b6f07afebca7" providerId="ADAL" clId="{CB580856-5493-431D-AE34-8464573C8745}" dt="2021-11-07T19:05:55.308" v="1" actId="700"/>
          <ac:spMkLst>
            <pc:docMk/>
            <pc:sldMk cId="2818985734" sldId="1010"/>
            <ac:spMk id="3" creationId="{38284431-D8FD-476E-A827-74B07B4700BD}"/>
          </ac:spMkLst>
        </pc:spChg>
        <pc:spChg chg="mod ord">
          <ac:chgData name="Per Hovde" userId="336a567d-735c-4805-ba8e-b6f07afebca7" providerId="ADAL" clId="{CB580856-5493-431D-AE34-8464573C8745}" dt="2021-11-07T19:06:02.643" v="2" actId="700"/>
          <ac:spMkLst>
            <pc:docMk/>
            <pc:sldMk cId="2818985734" sldId="1010"/>
            <ac:spMk id="4" creationId="{8971C097-4998-4DA4-B01E-719395D9AD0F}"/>
          </ac:spMkLst>
        </pc:spChg>
        <pc:spChg chg="mod ord">
          <ac:chgData name="Per Hovde" userId="336a567d-735c-4805-ba8e-b6f07afebca7" providerId="ADAL" clId="{CB580856-5493-431D-AE34-8464573C8745}" dt="2021-11-07T19:06:02.643" v="2" actId="700"/>
          <ac:spMkLst>
            <pc:docMk/>
            <pc:sldMk cId="2818985734" sldId="1010"/>
            <ac:spMk id="5" creationId="{CEF29B95-2EAA-4B62-959C-78BD68F2D6C0}"/>
          </ac:spMkLst>
        </pc:spChg>
        <pc:spChg chg="add del mod ord">
          <ac:chgData name="Per Hovde" userId="336a567d-735c-4805-ba8e-b6f07afebca7" providerId="ADAL" clId="{CB580856-5493-431D-AE34-8464573C8745}" dt="2021-11-07T19:06:02.643" v="2" actId="700"/>
          <ac:spMkLst>
            <pc:docMk/>
            <pc:sldMk cId="2818985734" sldId="1010"/>
            <ac:spMk id="6" creationId="{185F0272-A2C5-4F27-943B-FBDF0DE6D785}"/>
          </ac:spMkLst>
        </pc:spChg>
        <pc:spChg chg="add del mod ord">
          <ac:chgData name="Per Hovde" userId="336a567d-735c-4805-ba8e-b6f07afebca7" providerId="ADAL" clId="{CB580856-5493-431D-AE34-8464573C8745}" dt="2021-11-07T19:06:02.643" v="2" actId="700"/>
          <ac:spMkLst>
            <pc:docMk/>
            <pc:sldMk cId="2818985734" sldId="1010"/>
            <ac:spMk id="7" creationId="{A81D16A1-142A-495D-ACE8-A5DEE4A1EBF9}"/>
          </ac:spMkLst>
        </pc:spChg>
        <pc:spChg chg="add mod ord">
          <ac:chgData name="Per Hovde" userId="336a567d-735c-4805-ba8e-b6f07afebca7" providerId="ADAL" clId="{CB580856-5493-431D-AE34-8464573C8745}" dt="2021-11-07T19:20:13.764" v="113" actId="14100"/>
          <ac:spMkLst>
            <pc:docMk/>
            <pc:sldMk cId="2818985734" sldId="1010"/>
            <ac:spMk id="8" creationId="{22008B87-5E7B-40E0-A3B9-E06FF6D599C8}"/>
          </ac:spMkLst>
        </pc:spChg>
        <pc:picChg chg="add mod ord">
          <ac:chgData name="Per Hovde" userId="336a567d-735c-4805-ba8e-b6f07afebca7" providerId="ADAL" clId="{CB580856-5493-431D-AE34-8464573C8745}" dt="2021-11-07T19:07:48.431" v="26" actId="14100"/>
          <ac:picMkLst>
            <pc:docMk/>
            <pc:sldMk cId="2818985734" sldId="1010"/>
            <ac:picMk id="10" creationId="{B550D6E3-FFA4-4078-B54C-D74E6323BEAA}"/>
          </ac:picMkLst>
        </pc:picChg>
      </pc:sldChg>
      <pc:sldChg chg="addSp delSp modSp new mod ord chgLayout">
        <pc:chgData name="Per Hovde" userId="336a567d-735c-4805-ba8e-b6f07afebca7" providerId="ADAL" clId="{CB580856-5493-431D-AE34-8464573C8745}" dt="2021-11-08T07:21:31.602" v="3751"/>
        <pc:sldMkLst>
          <pc:docMk/>
          <pc:sldMk cId="3867117321" sldId="1011"/>
        </pc:sldMkLst>
        <pc:spChg chg="del">
          <ac:chgData name="Per Hovde" userId="336a567d-735c-4805-ba8e-b6f07afebca7" providerId="ADAL" clId="{CB580856-5493-431D-AE34-8464573C8745}" dt="2021-11-07T19:12:22.443" v="28" actId="700"/>
          <ac:spMkLst>
            <pc:docMk/>
            <pc:sldMk cId="3867117321" sldId="1011"/>
            <ac:spMk id="2" creationId="{6FEEF189-7202-4BA2-A611-43866638C495}"/>
          </ac:spMkLst>
        </pc:spChg>
        <pc:spChg chg="mod ord">
          <ac:chgData name="Per Hovde" userId="336a567d-735c-4805-ba8e-b6f07afebca7" providerId="ADAL" clId="{CB580856-5493-431D-AE34-8464573C8745}" dt="2021-11-07T19:12:22.443" v="28" actId="700"/>
          <ac:spMkLst>
            <pc:docMk/>
            <pc:sldMk cId="3867117321" sldId="1011"/>
            <ac:spMk id="3" creationId="{D592EB29-79A4-494E-B191-E774FF7188FA}"/>
          </ac:spMkLst>
        </pc:spChg>
        <pc:spChg chg="mod ord">
          <ac:chgData name="Per Hovde" userId="336a567d-735c-4805-ba8e-b6f07afebca7" providerId="ADAL" clId="{CB580856-5493-431D-AE34-8464573C8745}" dt="2021-11-07T19:12:22.443" v="28" actId="700"/>
          <ac:spMkLst>
            <pc:docMk/>
            <pc:sldMk cId="3867117321" sldId="1011"/>
            <ac:spMk id="4" creationId="{F0A778CB-0A70-40BE-9AE3-8CEBFFEFFC9C}"/>
          </ac:spMkLst>
        </pc:spChg>
        <pc:spChg chg="add mod ord">
          <ac:chgData name="Per Hovde" userId="336a567d-735c-4805-ba8e-b6f07afebca7" providerId="ADAL" clId="{CB580856-5493-431D-AE34-8464573C8745}" dt="2021-11-07T19:20:30.554" v="116" actId="14100"/>
          <ac:spMkLst>
            <pc:docMk/>
            <pc:sldMk cId="3867117321" sldId="1011"/>
            <ac:spMk id="5" creationId="{7E2F7611-59BC-4A04-A907-38AB25B4E1DC}"/>
          </ac:spMkLst>
        </pc:spChg>
        <pc:picChg chg="add del mod">
          <ac:chgData name="Per Hovde" userId="336a567d-735c-4805-ba8e-b6f07afebca7" providerId="ADAL" clId="{CB580856-5493-431D-AE34-8464573C8745}" dt="2021-11-07T19:12:42.781" v="30" actId="931"/>
          <ac:picMkLst>
            <pc:docMk/>
            <pc:sldMk cId="3867117321" sldId="1011"/>
            <ac:picMk id="7" creationId="{C8AE781A-1AAD-4F3A-85FB-FB5674540F3F}"/>
          </ac:picMkLst>
        </pc:picChg>
        <pc:picChg chg="add del mod">
          <ac:chgData name="Per Hovde" userId="336a567d-735c-4805-ba8e-b6f07afebca7" providerId="ADAL" clId="{CB580856-5493-431D-AE34-8464573C8745}" dt="2021-11-07T19:13:01.636" v="32" actId="931"/>
          <ac:picMkLst>
            <pc:docMk/>
            <pc:sldMk cId="3867117321" sldId="1011"/>
            <ac:picMk id="9" creationId="{262659A2-D0FF-499C-9531-37926857A9E1}"/>
          </ac:picMkLst>
        </pc:picChg>
        <pc:picChg chg="add mod">
          <ac:chgData name="Per Hovde" userId="336a567d-735c-4805-ba8e-b6f07afebca7" providerId="ADAL" clId="{CB580856-5493-431D-AE34-8464573C8745}" dt="2021-11-07T19:20:37.690" v="118" actId="14100"/>
          <ac:picMkLst>
            <pc:docMk/>
            <pc:sldMk cId="3867117321" sldId="1011"/>
            <ac:picMk id="10" creationId="{9586759F-3DEC-4B08-A97B-89A24126ACEB}"/>
          </ac:picMkLst>
        </pc:picChg>
      </pc:sldChg>
      <pc:sldChg chg="addSp modSp new mod ord">
        <pc:chgData name="Per Hovde" userId="336a567d-735c-4805-ba8e-b6f07afebca7" providerId="ADAL" clId="{CB580856-5493-431D-AE34-8464573C8745}" dt="2021-11-08T07:23:26.474" v="3865"/>
        <pc:sldMkLst>
          <pc:docMk/>
          <pc:sldMk cId="1043179190" sldId="1012"/>
        </pc:sldMkLst>
        <pc:spChg chg="mod">
          <ac:chgData name="Per Hovde" userId="336a567d-735c-4805-ba8e-b6f07afebca7" providerId="ADAL" clId="{CB580856-5493-431D-AE34-8464573C8745}" dt="2021-11-07T19:23:26.151" v="162" actId="20577"/>
          <ac:spMkLst>
            <pc:docMk/>
            <pc:sldMk cId="1043179190" sldId="1012"/>
            <ac:spMk id="2" creationId="{4DA44DB4-E3AD-410D-9370-ACE58ADA3D73}"/>
          </ac:spMkLst>
        </pc:spChg>
        <pc:picChg chg="add mod">
          <ac:chgData name="Per Hovde" userId="336a567d-735c-4805-ba8e-b6f07afebca7" providerId="ADAL" clId="{CB580856-5493-431D-AE34-8464573C8745}" dt="2021-11-07T19:21:08.199" v="122" actId="1076"/>
          <ac:picMkLst>
            <pc:docMk/>
            <pc:sldMk cId="1043179190" sldId="1012"/>
            <ac:picMk id="6" creationId="{A2AF9582-8E9D-4C95-A8BA-F1A4A3C72BD7}"/>
          </ac:picMkLst>
        </pc:picChg>
      </pc:sldChg>
      <pc:sldChg chg="addSp modSp new mod">
        <pc:chgData name="Per Hovde" userId="336a567d-735c-4805-ba8e-b6f07afebca7" providerId="ADAL" clId="{CB580856-5493-431D-AE34-8464573C8745}" dt="2021-11-07T19:25:57.087" v="243" actId="1037"/>
        <pc:sldMkLst>
          <pc:docMk/>
          <pc:sldMk cId="1729206854" sldId="1013"/>
        </pc:sldMkLst>
        <pc:spChg chg="mod">
          <ac:chgData name="Per Hovde" userId="336a567d-735c-4805-ba8e-b6f07afebca7" providerId="ADAL" clId="{CB580856-5493-431D-AE34-8464573C8745}" dt="2021-11-07T19:25:10.625" v="221" actId="20577"/>
          <ac:spMkLst>
            <pc:docMk/>
            <pc:sldMk cId="1729206854" sldId="1013"/>
            <ac:spMk id="2" creationId="{A2E89A9E-9532-4C33-B80C-2C0D3F269A3C}"/>
          </ac:spMkLst>
        </pc:spChg>
        <pc:picChg chg="add mod">
          <ac:chgData name="Per Hovde" userId="336a567d-735c-4805-ba8e-b6f07afebca7" providerId="ADAL" clId="{CB580856-5493-431D-AE34-8464573C8745}" dt="2021-11-07T19:25:57.087" v="243" actId="1037"/>
          <ac:picMkLst>
            <pc:docMk/>
            <pc:sldMk cId="1729206854" sldId="1013"/>
            <ac:picMk id="6" creationId="{A244F71C-3D6C-43A4-889D-954933A38AAE}"/>
          </ac:picMkLst>
        </pc:picChg>
      </pc:sldChg>
      <pc:sldChg chg="addSp modSp new mod">
        <pc:chgData name="Per Hovde" userId="336a567d-735c-4805-ba8e-b6f07afebca7" providerId="ADAL" clId="{CB580856-5493-431D-AE34-8464573C8745}" dt="2021-11-07T19:28:23.566" v="290" actId="20577"/>
        <pc:sldMkLst>
          <pc:docMk/>
          <pc:sldMk cId="1889348573" sldId="1014"/>
        </pc:sldMkLst>
        <pc:spChg chg="mod">
          <ac:chgData name="Per Hovde" userId="336a567d-735c-4805-ba8e-b6f07afebca7" providerId="ADAL" clId="{CB580856-5493-431D-AE34-8464573C8745}" dt="2021-11-07T19:28:23.566" v="290" actId="20577"/>
          <ac:spMkLst>
            <pc:docMk/>
            <pc:sldMk cId="1889348573" sldId="1014"/>
            <ac:spMk id="2" creationId="{2C0D2EFA-8C91-4598-B665-0C0BF6A9ABAE}"/>
          </ac:spMkLst>
        </pc:spChg>
        <pc:picChg chg="add mod">
          <ac:chgData name="Per Hovde" userId="336a567d-735c-4805-ba8e-b6f07afebca7" providerId="ADAL" clId="{CB580856-5493-431D-AE34-8464573C8745}" dt="2021-11-07T19:27:30.775" v="248" actId="1076"/>
          <ac:picMkLst>
            <pc:docMk/>
            <pc:sldMk cId="1889348573" sldId="1014"/>
            <ac:picMk id="6" creationId="{85CE610A-BFF6-497A-8B14-40811EEA9A6F}"/>
          </ac:picMkLst>
        </pc:picChg>
      </pc:sldChg>
      <pc:sldChg chg="addSp delSp modSp new mod ord">
        <pc:chgData name="Per Hovde" userId="336a567d-735c-4805-ba8e-b6f07afebca7" providerId="ADAL" clId="{CB580856-5493-431D-AE34-8464573C8745}" dt="2021-11-08T06:55:32.590" v="3295" actId="20577"/>
        <pc:sldMkLst>
          <pc:docMk/>
          <pc:sldMk cId="387405084" sldId="1015"/>
        </pc:sldMkLst>
        <pc:spChg chg="mod">
          <ac:chgData name="Per Hovde" userId="336a567d-735c-4805-ba8e-b6f07afebca7" providerId="ADAL" clId="{CB580856-5493-431D-AE34-8464573C8745}" dt="2021-11-08T06:55:32.590" v="3295" actId="20577"/>
          <ac:spMkLst>
            <pc:docMk/>
            <pc:sldMk cId="387405084" sldId="1015"/>
            <ac:spMk id="2" creationId="{B8C84B1A-F4E2-4029-A614-4CFC667E3793}"/>
          </ac:spMkLst>
        </pc:spChg>
        <pc:picChg chg="add del">
          <ac:chgData name="Per Hovde" userId="336a567d-735c-4805-ba8e-b6f07afebca7" providerId="ADAL" clId="{CB580856-5493-431D-AE34-8464573C8745}" dt="2021-11-07T19:30:01.949" v="335" actId="22"/>
          <ac:picMkLst>
            <pc:docMk/>
            <pc:sldMk cId="387405084" sldId="1015"/>
            <ac:picMk id="6" creationId="{DE3B5654-4AAC-4317-80B4-016E89E5D82B}"/>
          </ac:picMkLst>
        </pc:picChg>
        <pc:picChg chg="add mod">
          <ac:chgData name="Per Hovde" userId="336a567d-735c-4805-ba8e-b6f07afebca7" providerId="ADAL" clId="{CB580856-5493-431D-AE34-8464573C8745}" dt="2021-11-07T19:30:24.413" v="340" actId="14100"/>
          <ac:picMkLst>
            <pc:docMk/>
            <pc:sldMk cId="387405084" sldId="1015"/>
            <ac:picMk id="7" creationId="{14D5E3F6-BFC3-471D-A88B-FAD0EF2EBB40}"/>
          </ac:picMkLst>
        </pc:picChg>
      </pc:sldChg>
      <pc:sldChg chg="addSp modSp new mod modNotesTx">
        <pc:chgData name="Per Hovde" userId="336a567d-735c-4805-ba8e-b6f07afebca7" providerId="ADAL" clId="{CB580856-5493-431D-AE34-8464573C8745}" dt="2021-11-08T08:08:32.001" v="4485" actId="20577"/>
        <pc:sldMkLst>
          <pc:docMk/>
          <pc:sldMk cId="3330499832" sldId="1016"/>
        </pc:sldMkLst>
        <pc:spChg chg="mod">
          <ac:chgData name="Per Hovde" userId="336a567d-735c-4805-ba8e-b6f07afebca7" providerId="ADAL" clId="{CB580856-5493-431D-AE34-8464573C8745}" dt="2021-11-08T08:06:41.515" v="4367" actId="20577"/>
          <ac:spMkLst>
            <pc:docMk/>
            <pc:sldMk cId="3330499832" sldId="1016"/>
            <ac:spMk id="2" creationId="{35B71205-346A-4F4C-86C6-574835093C23}"/>
          </ac:spMkLst>
        </pc:spChg>
        <pc:picChg chg="add mod">
          <ac:chgData name="Per Hovde" userId="336a567d-735c-4805-ba8e-b6f07afebca7" providerId="ADAL" clId="{CB580856-5493-431D-AE34-8464573C8745}" dt="2021-11-07T19:31:48.981" v="347" actId="14100"/>
          <ac:picMkLst>
            <pc:docMk/>
            <pc:sldMk cId="3330499832" sldId="1016"/>
            <ac:picMk id="5" creationId="{220A76A5-CA12-406E-B89C-B68FCF6B3044}"/>
          </ac:picMkLst>
        </pc:picChg>
      </pc:sldChg>
      <pc:sldChg chg="addSp delSp modSp new mod chgLayout modNotesTx">
        <pc:chgData name="Per Hovde" userId="336a567d-735c-4805-ba8e-b6f07afebca7" providerId="ADAL" clId="{CB580856-5493-431D-AE34-8464573C8745}" dt="2021-11-09T09:39:23.668" v="5492" actId="20577"/>
        <pc:sldMkLst>
          <pc:docMk/>
          <pc:sldMk cId="1069944342" sldId="1017"/>
        </pc:sldMkLst>
        <pc:spChg chg="del">
          <ac:chgData name="Per Hovde" userId="336a567d-735c-4805-ba8e-b6f07afebca7" providerId="ADAL" clId="{CB580856-5493-431D-AE34-8464573C8745}" dt="2021-11-07T19:37:17.177" v="349" actId="700"/>
          <ac:spMkLst>
            <pc:docMk/>
            <pc:sldMk cId="1069944342" sldId="1017"/>
            <ac:spMk id="2" creationId="{8E494C3D-EA0C-4E80-8975-9899447E2B17}"/>
          </ac:spMkLst>
        </pc:spChg>
        <pc:spChg chg="mod ord">
          <ac:chgData name="Per Hovde" userId="336a567d-735c-4805-ba8e-b6f07afebca7" providerId="ADAL" clId="{CB580856-5493-431D-AE34-8464573C8745}" dt="2021-11-07T19:37:17.177" v="349" actId="700"/>
          <ac:spMkLst>
            <pc:docMk/>
            <pc:sldMk cId="1069944342" sldId="1017"/>
            <ac:spMk id="3" creationId="{0FFBB0D6-4F65-4CA4-86F6-49892A0FBC91}"/>
          </ac:spMkLst>
        </pc:spChg>
        <pc:spChg chg="mod ord">
          <ac:chgData name="Per Hovde" userId="336a567d-735c-4805-ba8e-b6f07afebca7" providerId="ADAL" clId="{CB580856-5493-431D-AE34-8464573C8745}" dt="2021-11-07T19:37:17.177" v="349" actId="700"/>
          <ac:spMkLst>
            <pc:docMk/>
            <pc:sldMk cId="1069944342" sldId="1017"/>
            <ac:spMk id="4" creationId="{DCE21484-81F9-493D-86E5-DEEADF1D42DD}"/>
          </ac:spMkLst>
        </pc:spChg>
        <pc:spChg chg="add del mod ord">
          <ac:chgData name="Per Hovde" userId="336a567d-735c-4805-ba8e-b6f07afebca7" providerId="ADAL" clId="{CB580856-5493-431D-AE34-8464573C8745}" dt="2021-11-07T19:55:52.590" v="776" actId="478"/>
          <ac:spMkLst>
            <pc:docMk/>
            <pc:sldMk cId="1069944342" sldId="1017"/>
            <ac:spMk id="5" creationId="{FDE25167-859C-46A5-8F6C-757AF2FBF36A}"/>
          </ac:spMkLst>
        </pc:spChg>
        <pc:spChg chg="add del mod">
          <ac:chgData name="Per Hovde" userId="336a567d-735c-4805-ba8e-b6f07afebca7" providerId="ADAL" clId="{CB580856-5493-431D-AE34-8464573C8745}" dt="2021-11-07T19:56:11.740" v="789" actId="20577"/>
          <ac:spMkLst>
            <pc:docMk/>
            <pc:sldMk cId="1069944342" sldId="1017"/>
            <ac:spMk id="9" creationId="{242A1774-635E-42DD-86D0-E2D5FA5D6288}"/>
          </ac:spMkLst>
        </pc:spChg>
        <pc:graphicFrameChg chg="add mod modGraphic">
          <ac:chgData name="Per Hovde" userId="336a567d-735c-4805-ba8e-b6f07afebca7" providerId="ADAL" clId="{CB580856-5493-431D-AE34-8464573C8745}" dt="2021-11-07T20:23:19.195" v="1625" actId="1035"/>
          <ac:graphicFrameMkLst>
            <pc:docMk/>
            <pc:sldMk cId="1069944342" sldId="1017"/>
            <ac:graphicFrameMk id="6" creationId="{60D6109E-2EB7-40A9-8511-36A30334F123}"/>
          </ac:graphicFrameMkLst>
        </pc:graphicFrameChg>
        <pc:graphicFrameChg chg="add mod modGraphic">
          <ac:chgData name="Per Hovde" userId="336a567d-735c-4805-ba8e-b6f07afebca7" providerId="ADAL" clId="{CB580856-5493-431D-AE34-8464573C8745}" dt="2021-11-09T09:39:18.833" v="5489" actId="20577"/>
          <ac:graphicFrameMkLst>
            <pc:docMk/>
            <pc:sldMk cId="1069944342" sldId="1017"/>
            <ac:graphicFrameMk id="7" creationId="{39E995B3-643A-45A4-8625-BB8AE8672BDF}"/>
          </ac:graphicFrameMkLst>
        </pc:graphicFrameChg>
      </pc:sldChg>
      <pc:sldChg chg="addSp delSp modSp add mod modNotesTx">
        <pc:chgData name="Per Hovde" userId="336a567d-735c-4805-ba8e-b6f07afebca7" providerId="ADAL" clId="{CB580856-5493-431D-AE34-8464573C8745}" dt="2021-11-09T09:44:23.146" v="5536" actId="478"/>
        <pc:sldMkLst>
          <pc:docMk/>
          <pc:sldMk cId="1092783891" sldId="1018"/>
        </pc:sldMkLst>
        <pc:spChg chg="mod">
          <ac:chgData name="Per Hovde" userId="336a567d-735c-4805-ba8e-b6f07afebca7" providerId="ADAL" clId="{CB580856-5493-431D-AE34-8464573C8745}" dt="2021-11-07T20:01:12.612" v="944" actId="20577"/>
          <ac:spMkLst>
            <pc:docMk/>
            <pc:sldMk cId="1092783891" sldId="1018"/>
            <ac:spMk id="9" creationId="{242A1774-635E-42DD-86D0-E2D5FA5D6288}"/>
          </ac:spMkLst>
        </pc:spChg>
        <pc:graphicFrameChg chg="modGraphic">
          <ac:chgData name="Per Hovde" userId="336a567d-735c-4805-ba8e-b6f07afebca7" providerId="ADAL" clId="{CB580856-5493-431D-AE34-8464573C8745}" dt="2021-11-08T08:23:08.228" v="4723" actId="20577"/>
          <ac:graphicFrameMkLst>
            <pc:docMk/>
            <pc:sldMk cId="1092783891" sldId="1018"/>
            <ac:graphicFrameMk id="6" creationId="{60D6109E-2EB7-40A9-8511-36A30334F123}"/>
          </ac:graphicFrameMkLst>
        </pc:graphicFrameChg>
        <pc:graphicFrameChg chg="add del mod modGraphic">
          <ac:chgData name="Per Hovde" userId="336a567d-735c-4805-ba8e-b6f07afebca7" providerId="ADAL" clId="{CB580856-5493-431D-AE34-8464573C8745}" dt="2021-11-09T09:44:23.146" v="5536" actId="478"/>
          <ac:graphicFrameMkLst>
            <pc:docMk/>
            <pc:sldMk cId="1092783891" sldId="1018"/>
            <ac:graphicFrameMk id="7" creationId="{39E995B3-643A-45A4-8625-BB8AE8672BDF}"/>
          </ac:graphicFrameMkLst>
        </pc:graphicFrameChg>
      </pc:sldChg>
      <pc:sldChg chg="addSp delSp modSp add mod ord modNotesTx">
        <pc:chgData name="Per Hovde" userId="336a567d-735c-4805-ba8e-b6f07afebca7" providerId="ADAL" clId="{CB580856-5493-431D-AE34-8464573C8745}" dt="2021-11-09T09:44:07.674" v="5534" actId="20577"/>
        <pc:sldMkLst>
          <pc:docMk/>
          <pc:sldMk cId="250437930" sldId="1019"/>
        </pc:sldMkLst>
        <pc:spChg chg="mod">
          <ac:chgData name="Per Hovde" userId="336a567d-735c-4805-ba8e-b6f07afebca7" providerId="ADAL" clId="{CB580856-5493-431D-AE34-8464573C8745}" dt="2021-11-07T20:08:39.856" v="1225" actId="20577"/>
          <ac:spMkLst>
            <pc:docMk/>
            <pc:sldMk cId="250437930" sldId="1019"/>
            <ac:spMk id="9" creationId="{242A1774-635E-42DD-86D0-E2D5FA5D6288}"/>
          </ac:spMkLst>
        </pc:spChg>
        <pc:graphicFrameChg chg="mod modGraphic">
          <ac:chgData name="Per Hovde" userId="336a567d-735c-4805-ba8e-b6f07afebca7" providerId="ADAL" clId="{CB580856-5493-431D-AE34-8464573C8745}" dt="2021-11-09T09:44:07.674" v="5534" actId="20577"/>
          <ac:graphicFrameMkLst>
            <pc:docMk/>
            <pc:sldMk cId="250437930" sldId="1019"/>
            <ac:graphicFrameMk id="6" creationId="{60D6109E-2EB7-40A9-8511-36A30334F123}"/>
          </ac:graphicFrameMkLst>
        </pc:graphicFrameChg>
        <pc:graphicFrameChg chg="del mod">
          <ac:chgData name="Per Hovde" userId="336a567d-735c-4805-ba8e-b6f07afebca7" providerId="ADAL" clId="{CB580856-5493-431D-AE34-8464573C8745}" dt="2021-11-07T20:11:33.697" v="1363" actId="478"/>
          <ac:graphicFrameMkLst>
            <pc:docMk/>
            <pc:sldMk cId="250437930" sldId="1019"/>
            <ac:graphicFrameMk id="7" creationId="{39E995B3-643A-45A4-8625-BB8AE8672BDF}"/>
          </ac:graphicFrameMkLst>
        </pc:graphicFrameChg>
        <pc:graphicFrameChg chg="add del mod modGraphic">
          <ac:chgData name="Per Hovde" userId="336a567d-735c-4805-ba8e-b6f07afebca7" providerId="ADAL" clId="{CB580856-5493-431D-AE34-8464573C8745}" dt="2021-11-07T20:28:12.976" v="1673" actId="478"/>
          <ac:graphicFrameMkLst>
            <pc:docMk/>
            <pc:sldMk cId="250437930" sldId="1019"/>
            <ac:graphicFrameMk id="8" creationId="{EDA50F9D-498C-46F1-BD82-D7B8BA77120D}"/>
          </ac:graphicFrameMkLst>
        </pc:graphicFrameChg>
      </pc:sldChg>
      <pc:sldChg chg="modSp add mod ord">
        <pc:chgData name="Per Hovde" userId="336a567d-735c-4805-ba8e-b6f07afebca7" providerId="ADAL" clId="{CB580856-5493-431D-AE34-8464573C8745}" dt="2021-11-08T08:41:04.264" v="4909" actId="20577"/>
        <pc:sldMkLst>
          <pc:docMk/>
          <pc:sldMk cId="873312174" sldId="1020"/>
        </pc:sldMkLst>
        <pc:spChg chg="mod">
          <ac:chgData name="Per Hovde" userId="336a567d-735c-4805-ba8e-b6f07afebca7" providerId="ADAL" clId="{CB580856-5493-431D-AE34-8464573C8745}" dt="2021-11-07T20:28:31.542" v="1675"/>
          <ac:spMkLst>
            <pc:docMk/>
            <pc:sldMk cId="873312174" sldId="1020"/>
            <ac:spMk id="9" creationId="{242A1774-635E-42DD-86D0-E2D5FA5D6288}"/>
          </ac:spMkLst>
        </pc:spChg>
        <pc:graphicFrameChg chg="mod modGraphic">
          <ac:chgData name="Per Hovde" userId="336a567d-735c-4805-ba8e-b6f07afebca7" providerId="ADAL" clId="{CB580856-5493-431D-AE34-8464573C8745}" dt="2021-11-08T08:41:04.264" v="4909" actId="20577"/>
          <ac:graphicFrameMkLst>
            <pc:docMk/>
            <pc:sldMk cId="873312174" sldId="1020"/>
            <ac:graphicFrameMk id="6" creationId="{60D6109E-2EB7-40A9-8511-36A30334F123}"/>
          </ac:graphicFrameMkLst>
        </pc:graphicFrameChg>
      </pc:sldChg>
      <pc:sldChg chg="modSp mod ord">
        <pc:chgData name="Per Hovde" userId="336a567d-735c-4805-ba8e-b6f07afebca7" providerId="ADAL" clId="{CB580856-5493-431D-AE34-8464573C8745}" dt="2021-11-08T07:23:11.236" v="3863" actId="1076"/>
        <pc:sldMkLst>
          <pc:docMk/>
          <pc:sldMk cId="363890115" sldId="5346"/>
        </pc:sldMkLst>
        <pc:spChg chg="mod">
          <ac:chgData name="Per Hovde" userId="336a567d-735c-4805-ba8e-b6f07afebca7" providerId="ADAL" clId="{CB580856-5493-431D-AE34-8464573C8745}" dt="2021-11-08T07:23:11.236" v="3863" actId="1076"/>
          <ac:spMkLst>
            <pc:docMk/>
            <pc:sldMk cId="363890115" sldId="5346"/>
            <ac:spMk id="17" creationId="{53E31758-D9EE-433E-B94C-4E89953E2C21}"/>
          </ac:spMkLst>
        </pc:spChg>
      </pc:sldChg>
      <pc:sldChg chg="addSp delSp modSp mod ord">
        <pc:chgData name="Per Hovde" userId="336a567d-735c-4805-ba8e-b6f07afebca7" providerId="ADAL" clId="{CB580856-5493-431D-AE34-8464573C8745}" dt="2021-11-09T09:30:30.936" v="5372" actId="478"/>
        <pc:sldMkLst>
          <pc:docMk/>
          <pc:sldMk cId="3746916553" sldId="5414"/>
        </pc:sldMkLst>
        <pc:spChg chg="mod">
          <ac:chgData name="Per Hovde" userId="336a567d-735c-4805-ba8e-b6f07afebca7" providerId="ADAL" clId="{CB580856-5493-431D-AE34-8464573C8745}" dt="2021-11-08T06:15:19.432" v="1758" actId="207"/>
          <ac:spMkLst>
            <pc:docMk/>
            <pc:sldMk cId="3746916553" sldId="5414"/>
            <ac:spMk id="18" creationId="{095D042E-B3F3-4F97-BAE8-C1E177F42432}"/>
          </ac:spMkLst>
        </pc:spChg>
        <pc:spChg chg="mod">
          <ac:chgData name="Per Hovde" userId="336a567d-735c-4805-ba8e-b6f07afebca7" providerId="ADAL" clId="{CB580856-5493-431D-AE34-8464573C8745}" dt="2021-11-08T06:15:40.490" v="1761" actId="207"/>
          <ac:spMkLst>
            <pc:docMk/>
            <pc:sldMk cId="3746916553" sldId="5414"/>
            <ac:spMk id="27" creationId="{B38570FB-F610-43EA-9FBB-887DE79E018D}"/>
          </ac:spMkLst>
        </pc:spChg>
        <pc:spChg chg="add del mod">
          <ac:chgData name="Per Hovde" userId="336a567d-735c-4805-ba8e-b6f07afebca7" providerId="ADAL" clId="{CB580856-5493-431D-AE34-8464573C8745}" dt="2021-11-09T09:30:30.936" v="5372" actId="478"/>
          <ac:spMkLst>
            <pc:docMk/>
            <pc:sldMk cId="3746916553" sldId="5414"/>
            <ac:spMk id="35" creationId="{171370E7-F930-4693-9421-850EB2B3B64A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56" creationId="{B2A2EC4A-ABE3-4E7C-9466-CCBEACB2BDF3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60" creationId="{135317C2-6F34-44EA-8301-524335E063BE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64" creationId="{20A2AD35-5F4A-4446-9D4D-AF05DF23E8B9}"/>
          </ac:spMkLst>
        </pc:spChg>
        <pc:spChg chg="mod">
          <ac:chgData name="Per Hovde" userId="336a567d-735c-4805-ba8e-b6f07afebca7" providerId="ADAL" clId="{CB580856-5493-431D-AE34-8464573C8745}" dt="2021-11-08T06:15:12.243" v="1757" actId="207"/>
          <ac:spMkLst>
            <pc:docMk/>
            <pc:sldMk cId="3746916553" sldId="5414"/>
            <ac:spMk id="68" creationId="{B4424B92-41B7-4B83-A5E4-875C60305DCE}"/>
          </ac:spMkLst>
        </pc:spChg>
        <pc:spChg chg="mod">
          <ac:chgData name="Per Hovde" userId="336a567d-735c-4805-ba8e-b6f07afebca7" providerId="ADAL" clId="{CB580856-5493-431D-AE34-8464573C8745}" dt="2021-11-08T06:15:12.243" v="1757" actId="207"/>
          <ac:spMkLst>
            <pc:docMk/>
            <pc:sldMk cId="3746916553" sldId="5414"/>
            <ac:spMk id="70" creationId="{DB7E7AFA-7197-48F1-9E73-72BC189663BF}"/>
          </ac:spMkLst>
        </pc:spChg>
        <pc:spChg chg="mod">
          <ac:chgData name="Per Hovde" userId="336a567d-735c-4805-ba8e-b6f07afebca7" providerId="ADAL" clId="{CB580856-5493-431D-AE34-8464573C8745}" dt="2021-11-08T06:15:12.243" v="1757" actId="207"/>
          <ac:spMkLst>
            <pc:docMk/>
            <pc:sldMk cId="3746916553" sldId="5414"/>
            <ac:spMk id="71" creationId="{7E71A5B2-CF8A-4A7B-9C87-A31FD211C447}"/>
          </ac:spMkLst>
        </pc:spChg>
        <pc:spChg chg="mod">
          <ac:chgData name="Per Hovde" userId="336a567d-735c-4805-ba8e-b6f07afebca7" providerId="ADAL" clId="{CB580856-5493-431D-AE34-8464573C8745}" dt="2021-11-08T06:15:12.243" v="1757" actId="207"/>
          <ac:spMkLst>
            <pc:docMk/>
            <pc:sldMk cId="3746916553" sldId="5414"/>
            <ac:spMk id="74" creationId="{7F298A38-D287-4B16-917B-EA0A4BFC3475}"/>
          </ac:spMkLst>
        </pc:spChg>
        <pc:spChg chg="mod">
          <ac:chgData name="Per Hovde" userId="336a567d-735c-4805-ba8e-b6f07afebca7" providerId="ADAL" clId="{CB580856-5493-431D-AE34-8464573C8745}" dt="2021-11-08T06:16:00.705" v="1763" actId="20577"/>
          <ac:spMkLst>
            <pc:docMk/>
            <pc:sldMk cId="3746916553" sldId="5414"/>
            <ac:spMk id="76" creationId="{FFAF3E99-3EDD-4A5E-963E-E052ECEA5E7E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81" creationId="{31D60467-B14F-4619-A6A6-7F18B0FB4405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85" creationId="{011BFDD7-E98B-43D1-9664-74445803E84E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89" creationId="{49AE2BFB-8D85-475E-AC84-EF4CA88B279A}"/>
          </ac:spMkLst>
        </pc:spChg>
        <pc:spChg chg="mod">
          <ac:chgData name="Per Hovde" userId="336a567d-735c-4805-ba8e-b6f07afebca7" providerId="ADAL" clId="{CB580856-5493-431D-AE34-8464573C8745}" dt="2021-11-08T06:15:12.243" v="1757" actId="207"/>
          <ac:spMkLst>
            <pc:docMk/>
            <pc:sldMk cId="3746916553" sldId="5414"/>
            <ac:spMk id="124" creationId="{3FB708D2-228D-4613-BBC3-627A7185BE2B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141" creationId="{DE709108-FE22-4ED0-A6BE-31387903DE7C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142" creationId="{67A6CBD9-46E1-41FF-BBBF-99C5A7CF3621}"/>
          </ac:spMkLst>
        </pc:spChg>
        <pc:spChg chg="mod">
          <ac:chgData name="Per Hovde" userId="336a567d-735c-4805-ba8e-b6f07afebca7" providerId="ADAL" clId="{CB580856-5493-431D-AE34-8464573C8745}" dt="2021-11-08T06:15:02.687" v="1756" actId="207"/>
          <ac:spMkLst>
            <pc:docMk/>
            <pc:sldMk cId="3746916553" sldId="5414"/>
            <ac:spMk id="144" creationId="{3791E54D-3E62-4532-9FC6-2F0ABEE3C2D3}"/>
          </ac:spMkLst>
        </pc:spChg>
      </pc:sldChg>
      <pc:sldChg chg="addSp delSp modSp new mod ord chgLayout">
        <pc:chgData name="Per Hovde" userId="336a567d-735c-4805-ba8e-b6f07afebca7" providerId="ADAL" clId="{CB580856-5493-431D-AE34-8464573C8745}" dt="2021-11-08T06:53:55.881" v="3210"/>
        <pc:sldMkLst>
          <pc:docMk/>
          <pc:sldMk cId="2431464779" sldId="5415"/>
        </pc:sldMkLst>
        <pc:spChg chg="del mod ord">
          <ac:chgData name="Per Hovde" userId="336a567d-735c-4805-ba8e-b6f07afebca7" providerId="ADAL" clId="{CB580856-5493-431D-AE34-8464573C8745}" dt="2021-11-08T06:23:29.670" v="2050" actId="700"/>
          <ac:spMkLst>
            <pc:docMk/>
            <pc:sldMk cId="2431464779" sldId="5415"/>
            <ac:spMk id="2" creationId="{DF1A45C3-3EE9-4194-A1BA-E3A763C409B6}"/>
          </ac:spMkLst>
        </pc:spChg>
        <pc:spChg chg="mod ord">
          <ac:chgData name="Per Hovde" userId="336a567d-735c-4805-ba8e-b6f07afebca7" providerId="ADAL" clId="{CB580856-5493-431D-AE34-8464573C8745}" dt="2021-11-08T06:23:29.670" v="2050" actId="700"/>
          <ac:spMkLst>
            <pc:docMk/>
            <pc:sldMk cId="2431464779" sldId="5415"/>
            <ac:spMk id="3" creationId="{2CD3A396-7B53-4399-8DA1-987E85C7B81E}"/>
          </ac:spMkLst>
        </pc:spChg>
        <pc:spChg chg="mod ord">
          <ac:chgData name="Per Hovde" userId="336a567d-735c-4805-ba8e-b6f07afebca7" providerId="ADAL" clId="{CB580856-5493-431D-AE34-8464573C8745}" dt="2021-11-08T06:23:29.670" v="2050" actId="700"/>
          <ac:spMkLst>
            <pc:docMk/>
            <pc:sldMk cId="2431464779" sldId="5415"/>
            <ac:spMk id="4" creationId="{56EA2AD9-9694-435E-9199-48B54B15E5E4}"/>
          </ac:spMkLst>
        </pc:spChg>
        <pc:spChg chg="add mod ord">
          <ac:chgData name="Per Hovde" userId="336a567d-735c-4805-ba8e-b6f07afebca7" providerId="ADAL" clId="{CB580856-5493-431D-AE34-8464573C8745}" dt="2021-11-08T06:53:51.800" v="3208" actId="20577"/>
          <ac:spMkLst>
            <pc:docMk/>
            <pc:sldMk cId="2431464779" sldId="5415"/>
            <ac:spMk id="5" creationId="{9BAB3232-3BB5-423E-BBC5-66A2AC65BC3A}"/>
          </ac:spMkLst>
        </pc:spChg>
        <pc:spChg chg="add mod ord">
          <ac:chgData name="Per Hovde" userId="336a567d-735c-4805-ba8e-b6f07afebca7" providerId="ADAL" clId="{CB580856-5493-431D-AE34-8464573C8745}" dt="2021-11-08T06:23:29.670" v="2050" actId="700"/>
          <ac:spMkLst>
            <pc:docMk/>
            <pc:sldMk cId="2431464779" sldId="5415"/>
            <ac:spMk id="6" creationId="{1E9BECE1-8407-4EE5-9462-7BBC82C0E691}"/>
          </ac:spMkLst>
        </pc:spChg>
      </pc:sldChg>
      <pc:sldChg chg="addSp delSp modSp new mod ord chgLayout">
        <pc:chgData name="Per Hovde" userId="336a567d-735c-4805-ba8e-b6f07afebca7" providerId="ADAL" clId="{CB580856-5493-431D-AE34-8464573C8745}" dt="2021-11-08T06:54:03.164" v="3214"/>
        <pc:sldMkLst>
          <pc:docMk/>
          <pc:sldMk cId="3559185669" sldId="5416"/>
        </pc:sldMkLst>
        <pc:spChg chg="del mod ord">
          <ac:chgData name="Per Hovde" userId="336a567d-735c-4805-ba8e-b6f07afebca7" providerId="ADAL" clId="{CB580856-5493-431D-AE34-8464573C8745}" dt="2021-11-08T06:24:53.721" v="2070" actId="700"/>
          <ac:spMkLst>
            <pc:docMk/>
            <pc:sldMk cId="3559185669" sldId="5416"/>
            <ac:spMk id="2" creationId="{8492CF0E-8FC4-4634-99BD-673A19269678}"/>
          </ac:spMkLst>
        </pc:spChg>
        <pc:spChg chg="del mod ord">
          <ac:chgData name="Per Hovde" userId="336a567d-735c-4805-ba8e-b6f07afebca7" providerId="ADAL" clId="{CB580856-5493-431D-AE34-8464573C8745}" dt="2021-11-08T06:24:53.721" v="2070" actId="700"/>
          <ac:spMkLst>
            <pc:docMk/>
            <pc:sldMk cId="3559185669" sldId="5416"/>
            <ac:spMk id="3" creationId="{5E2F88FF-87F1-425A-BA77-7DD29D780431}"/>
          </ac:spMkLst>
        </pc:spChg>
        <pc:spChg chg="mod ord">
          <ac:chgData name="Per Hovde" userId="336a567d-735c-4805-ba8e-b6f07afebca7" providerId="ADAL" clId="{CB580856-5493-431D-AE34-8464573C8745}" dt="2021-11-08T06:24:53.721" v="2070" actId="700"/>
          <ac:spMkLst>
            <pc:docMk/>
            <pc:sldMk cId="3559185669" sldId="5416"/>
            <ac:spMk id="4" creationId="{D2B6AEFB-EA6C-4C7A-B538-C5DE1C5DEDCD}"/>
          </ac:spMkLst>
        </pc:spChg>
        <pc:spChg chg="mod ord">
          <ac:chgData name="Per Hovde" userId="336a567d-735c-4805-ba8e-b6f07afebca7" providerId="ADAL" clId="{CB580856-5493-431D-AE34-8464573C8745}" dt="2021-11-08T06:24:53.721" v="2070" actId="700"/>
          <ac:spMkLst>
            <pc:docMk/>
            <pc:sldMk cId="3559185669" sldId="5416"/>
            <ac:spMk id="5" creationId="{F2D5695F-340F-47C1-A557-7EBE3B125095}"/>
          </ac:spMkLst>
        </pc:spChg>
        <pc:spChg chg="add mod ord">
          <ac:chgData name="Per Hovde" userId="336a567d-735c-4805-ba8e-b6f07afebca7" providerId="ADAL" clId="{CB580856-5493-431D-AE34-8464573C8745}" dt="2021-11-08T06:25:28.772" v="2112" actId="20577"/>
          <ac:spMkLst>
            <pc:docMk/>
            <pc:sldMk cId="3559185669" sldId="5416"/>
            <ac:spMk id="6" creationId="{4175FD8A-CE19-4253-8093-66BAB13F0773}"/>
          </ac:spMkLst>
        </pc:spChg>
        <pc:spChg chg="add mod ord">
          <ac:chgData name="Per Hovde" userId="336a567d-735c-4805-ba8e-b6f07afebca7" providerId="ADAL" clId="{CB580856-5493-431D-AE34-8464573C8745}" dt="2021-11-08T06:53:37.779" v="3195" actId="20577"/>
          <ac:spMkLst>
            <pc:docMk/>
            <pc:sldMk cId="3559185669" sldId="5416"/>
            <ac:spMk id="7" creationId="{CF28D963-EE9A-4F82-B07E-DD945CEA373C}"/>
          </ac:spMkLst>
        </pc:spChg>
      </pc:sldChg>
      <pc:sldChg chg="addSp delSp modSp new mod">
        <pc:chgData name="Per Hovde" userId="336a567d-735c-4805-ba8e-b6f07afebca7" providerId="ADAL" clId="{CB580856-5493-431D-AE34-8464573C8745}" dt="2021-11-08T08:05:07.085" v="4325" actId="20577"/>
        <pc:sldMkLst>
          <pc:docMk/>
          <pc:sldMk cId="71947600" sldId="5417"/>
        </pc:sldMkLst>
        <pc:spChg chg="mod">
          <ac:chgData name="Per Hovde" userId="336a567d-735c-4805-ba8e-b6f07afebca7" providerId="ADAL" clId="{CB580856-5493-431D-AE34-8464573C8745}" dt="2021-11-08T08:05:07.085" v="4325" actId="20577"/>
          <ac:spMkLst>
            <pc:docMk/>
            <pc:sldMk cId="71947600" sldId="5417"/>
            <ac:spMk id="2" creationId="{A8A36B3E-8821-49DA-8791-FDE75839CDD9}"/>
          </ac:spMkLst>
        </pc:spChg>
        <pc:spChg chg="mod">
          <ac:chgData name="Per Hovde" userId="336a567d-735c-4805-ba8e-b6f07afebca7" providerId="ADAL" clId="{CB580856-5493-431D-AE34-8464573C8745}" dt="2021-11-08T07:18:46.231" v="3745" actId="1038"/>
          <ac:spMkLst>
            <pc:docMk/>
            <pc:sldMk cId="71947600" sldId="5417"/>
            <ac:spMk id="3" creationId="{9D5E4021-439E-4673-B0E3-027A653567D3}"/>
          </ac:spMkLst>
        </pc:spChg>
        <pc:spChg chg="mod">
          <ac:chgData name="Per Hovde" userId="336a567d-735c-4805-ba8e-b6f07afebca7" providerId="ADAL" clId="{CB580856-5493-431D-AE34-8464573C8745}" dt="2021-11-08T07:18:46.231" v="3745" actId="1038"/>
          <ac:spMkLst>
            <pc:docMk/>
            <pc:sldMk cId="71947600" sldId="5417"/>
            <ac:spMk id="4" creationId="{8D227D76-A4D8-4A02-B891-AAC0853DD087}"/>
          </ac:spMkLst>
        </pc:spChg>
        <pc:spChg chg="add del mod">
          <ac:chgData name="Per Hovde" userId="336a567d-735c-4805-ba8e-b6f07afebca7" providerId="ADAL" clId="{CB580856-5493-431D-AE34-8464573C8745}" dt="2021-11-08T07:09:16.580" v="3411" actId="478"/>
          <ac:spMkLst>
            <pc:docMk/>
            <pc:sldMk cId="71947600" sldId="5417"/>
            <ac:spMk id="7" creationId="{CACA6D0F-E8ED-4D92-B5B4-45245776F491}"/>
          </ac:spMkLst>
        </pc:spChg>
        <pc:spChg chg="add mod ord">
          <ac:chgData name="Per Hovde" userId="336a567d-735c-4805-ba8e-b6f07afebca7" providerId="ADAL" clId="{CB580856-5493-431D-AE34-8464573C8745}" dt="2021-11-08T07:18:46.231" v="3745" actId="1038"/>
          <ac:spMkLst>
            <pc:docMk/>
            <pc:sldMk cId="71947600" sldId="5417"/>
            <ac:spMk id="8" creationId="{32C205B4-7F6E-4E67-BAA9-176C24D97531}"/>
          </ac:spMkLst>
        </pc:spChg>
        <pc:spChg chg="add mod">
          <ac:chgData name="Per Hovde" userId="336a567d-735c-4805-ba8e-b6f07afebca7" providerId="ADAL" clId="{CB580856-5493-431D-AE34-8464573C8745}" dt="2021-11-08T07:18:46.231" v="3745" actId="1038"/>
          <ac:spMkLst>
            <pc:docMk/>
            <pc:sldMk cId="71947600" sldId="5417"/>
            <ac:spMk id="9" creationId="{13E7B177-3F35-49B0-BF22-9C4726EC2C15}"/>
          </ac:spMkLst>
        </pc:spChg>
        <pc:spChg chg="add mod">
          <ac:chgData name="Per Hovde" userId="336a567d-735c-4805-ba8e-b6f07afebca7" providerId="ADAL" clId="{CB580856-5493-431D-AE34-8464573C8745}" dt="2021-11-08T07:18:46.231" v="3745" actId="1038"/>
          <ac:spMkLst>
            <pc:docMk/>
            <pc:sldMk cId="71947600" sldId="5417"/>
            <ac:spMk id="10" creationId="{F902F49F-1569-4249-A23A-EBD57CCB2988}"/>
          </ac:spMkLst>
        </pc:spChg>
        <pc:picChg chg="add mod">
          <ac:chgData name="Per Hovde" userId="336a567d-735c-4805-ba8e-b6f07afebca7" providerId="ADAL" clId="{CB580856-5493-431D-AE34-8464573C8745}" dt="2021-11-08T07:18:46.231" v="3745" actId="1038"/>
          <ac:picMkLst>
            <pc:docMk/>
            <pc:sldMk cId="71947600" sldId="5417"/>
            <ac:picMk id="6" creationId="{B1470532-192D-40F7-99B0-467DA6F1A973}"/>
          </ac:picMkLst>
        </pc:picChg>
        <pc:picChg chg="add mod">
          <ac:chgData name="Per Hovde" userId="336a567d-735c-4805-ba8e-b6f07afebca7" providerId="ADAL" clId="{CB580856-5493-431D-AE34-8464573C8745}" dt="2021-11-08T07:20:48.143" v="3749" actId="1076"/>
          <ac:picMkLst>
            <pc:docMk/>
            <pc:sldMk cId="71947600" sldId="5417"/>
            <ac:picMk id="11" creationId="{ED238411-2375-4A40-B68A-AF5860B0CE73}"/>
          </ac:picMkLst>
        </pc:picChg>
      </pc:sldChg>
      <pc:sldChg chg="modSp add mod ord">
        <pc:chgData name="Per Hovde" userId="336a567d-735c-4805-ba8e-b6f07afebca7" providerId="ADAL" clId="{CB580856-5493-431D-AE34-8464573C8745}" dt="2021-11-08T07:22:10.175" v="3822" actId="20577"/>
        <pc:sldMkLst>
          <pc:docMk/>
          <pc:sldMk cId="1965046206" sldId="5418"/>
        </pc:sldMkLst>
        <pc:spChg chg="mod">
          <ac:chgData name="Per Hovde" userId="336a567d-735c-4805-ba8e-b6f07afebca7" providerId="ADAL" clId="{CB580856-5493-431D-AE34-8464573C8745}" dt="2021-11-08T07:22:10.175" v="3822" actId="20577"/>
          <ac:spMkLst>
            <pc:docMk/>
            <pc:sldMk cId="1965046206" sldId="5418"/>
            <ac:spMk id="5" creationId="{9BAB3232-3BB5-423E-BBC5-66A2AC65BC3A}"/>
          </ac:spMkLst>
        </pc:spChg>
      </pc:sldChg>
      <pc:sldChg chg="modSp add mod ord">
        <pc:chgData name="Per Hovde" userId="336a567d-735c-4805-ba8e-b6f07afebca7" providerId="ADAL" clId="{CB580856-5493-431D-AE34-8464573C8745}" dt="2021-11-08T07:25:18.844" v="3994" actId="14100"/>
        <pc:sldMkLst>
          <pc:docMk/>
          <pc:sldMk cId="3698189775" sldId="5419"/>
        </pc:sldMkLst>
        <pc:spChg chg="mod">
          <ac:chgData name="Per Hovde" userId="336a567d-735c-4805-ba8e-b6f07afebca7" providerId="ADAL" clId="{CB580856-5493-431D-AE34-8464573C8745}" dt="2021-11-08T07:25:18.844" v="3994" actId="14100"/>
          <ac:spMkLst>
            <pc:docMk/>
            <pc:sldMk cId="3698189775" sldId="5419"/>
            <ac:spMk id="5" creationId="{9BAB3232-3BB5-423E-BBC5-66A2AC65BC3A}"/>
          </ac:spMkLst>
        </pc:spChg>
      </pc:sldChg>
      <pc:sldChg chg="modSp add del mod">
        <pc:chgData name="Per Hovde" userId="336a567d-735c-4805-ba8e-b6f07afebca7" providerId="ADAL" clId="{CB580856-5493-431D-AE34-8464573C8745}" dt="2021-11-09T09:29:18.382" v="5362" actId="47"/>
        <pc:sldMkLst>
          <pc:docMk/>
          <pc:sldMk cId="1330711609" sldId="5420"/>
        </pc:sldMkLst>
        <pc:spChg chg="mod">
          <ac:chgData name="Per Hovde" userId="336a567d-735c-4805-ba8e-b6f07afebca7" providerId="ADAL" clId="{CB580856-5493-431D-AE34-8464573C8745}" dt="2021-11-08T07:58:27.540" v="4167" actId="5793"/>
          <ac:spMkLst>
            <pc:docMk/>
            <pc:sldMk cId="1330711609" sldId="5420"/>
            <ac:spMk id="2" creationId="{863DACB0-38AE-4CE9-9FBF-C8E34AF6CEFD}"/>
          </ac:spMkLst>
        </pc:spChg>
      </pc:sldChg>
      <pc:sldChg chg="modSp add del mod">
        <pc:chgData name="Per Hovde" userId="336a567d-735c-4805-ba8e-b6f07afebca7" providerId="ADAL" clId="{CB580856-5493-431D-AE34-8464573C8745}" dt="2021-11-09T09:30:07.206" v="5368" actId="47"/>
        <pc:sldMkLst>
          <pc:docMk/>
          <pc:sldMk cId="3770605792" sldId="5421"/>
        </pc:sldMkLst>
        <pc:spChg chg="mod">
          <ac:chgData name="Per Hovde" userId="336a567d-735c-4805-ba8e-b6f07afebca7" providerId="ADAL" clId="{CB580856-5493-431D-AE34-8464573C8745}" dt="2021-11-08T08:16:45.894" v="4490" actId="1038"/>
          <ac:spMkLst>
            <pc:docMk/>
            <pc:sldMk cId="3770605792" sldId="5421"/>
            <ac:spMk id="7" creationId="{88AD86D3-E75C-4E4A-B31E-B8E64637C455}"/>
          </ac:spMkLst>
        </pc:spChg>
      </pc:sldChg>
      <pc:sldChg chg="addSp delSp modSp add del mod">
        <pc:chgData name="Per Hovde" userId="336a567d-735c-4805-ba8e-b6f07afebca7" providerId="ADAL" clId="{CB580856-5493-431D-AE34-8464573C8745}" dt="2021-11-09T09:30:09.627" v="5370" actId="47"/>
        <pc:sldMkLst>
          <pc:docMk/>
          <pc:sldMk cId="610043161" sldId="5422"/>
        </pc:sldMkLst>
        <pc:spChg chg="del mod">
          <ac:chgData name="Per Hovde" userId="336a567d-735c-4805-ba8e-b6f07afebca7" providerId="ADAL" clId="{CB580856-5493-431D-AE34-8464573C8745}" dt="2021-11-08T08:19:35.338" v="4595" actId="478"/>
          <ac:spMkLst>
            <pc:docMk/>
            <pc:sldMk cId="610043161" sldId="5422"/>
            <ac:spMk id="25" creationId="{D4BBA1C6-EBA5-4BB4-8B47-86447B5F34B5}"/>
          </ac:spMkLst>
        </pc:spChg>
        <pc:spChg chg="mod ord">
          <ac:chgData name="Per Hovde" userId="336a567d-735c-4805-ba8e-b6f07afebca7" providerId="ADAL" clId="{CB580856-5493-431D-AE34-8464573C8745}" dt="2021-11-08T08:44:47.589" v="4910" actId="14100"/>
          <ac:spMkLst>
            <pc:docMk/>
            <pc:sldMk cId="610043161" sldId="5422"/>
            <ac:spMk id="28" creationId="{C344179B-7478-48FF-B986-96722279098B}"/>
          </ac:spMkLst>
        </pc:spChg>
        <pc:spChg chg="add mod">
          <ac:chgData name="Per Hovde" userId="336a567d-735c-4805-ba8e-b6f07afebca7" providerId="ADAL" clId="{CB580856-5493-431D-AE34-8464573C8745}" dt="2021-11-08T08:18:22.768" v="4578" actId="207"/>
          <ac:spMkLst>
            <pc:docMk/>
            <pc:sldMk cId="610043161" sldId="5422"/>
            <ac:spMk id="31" creationId="{A75C9B95-CD06-4A13-B888-C38CAFD84607}"/>
          </ac:spMkLst>
        </pc:spChg>
        <pc:spChg chg="add mod">
          <ac:chgData name="Per Hovde" userId="336a567d-735c-4805-ba8e-b6f07afebca7" providerId="ADAL" clId="{CB580856-5493-431D-AE34-8464573C8745}" dt="2021-11-08T08:19:41.572" v="4598"/>
          <ac:spMkLst>
            <pc:docMk/>
            <pc:sldMk cId="610043161" sldId="5422"/>
            <ac:spMk id="32" creationId="{3850DEBC-9FAD-400D-9FA8-6C026B627270}"/>
          </ac:spMkLst>
        </pc:spChg>
        <pc:cxnChg chg="add del mod">
          <ac:chgData name="Per Hovde" userId="336a567d-735c-4805-ba8e-b6f07afebca7" providerId="ADAL" clId="{CB580856-5493-431D-AE34-8464573C8745}" dt="2021-11-08T08:19:39.026" v="4597" actId="478"/>
          <ac:cxnSpMkLst>
            <pc:docMk/>
            <pc:sldMk cId="610043161" sldId="5422"/>
            <ac:cxnSpMk id="26" creationId="{0DC6E786-97FE-4482-991A-BE75044308A5}"/>
          </ac:cxnSpMkLst>
        </pc:cxnChg>
        <pc:cxnChg chg="add mod">
          <ac:chgData name="Per Hovde" userId="336a567d-735c-4805-ba8e-b6f07afebca7" providerId="ADAL" clId="{CB580856-5493-431D-AE34-8464573C8745}" dt="2021-11-08T08:19:41.572" v="4598"/>
          <ac:cxnSpMkLst>
            <pc:docMk/>
            <pc:sldMk cId="610043161" sldId="5422"/>
            <ac:cxnSpMk id="33" creationId="{B45AF61E-06C4-4913-8D2C-B7A81F4F2E82}"/>
          </ac:cxnSpMkLst>
        </pc:cxnChg>
        <pc:cxnChg chg="add mod">
          <ac:chgData name="Per Hovde" userId="336a567d-735c-4805-ba8e-b6f07afebca7" providerId="ADAL" clId="{CB580856-5493-431D-AE34-8464573C8745}" dt="2021-11-08T08:19:41.572" v="4598"/>
          <ac:cxnSpMkLst>
            <pc:docMk/>
            <pc:sldMk cId="610043161" sldId="5422"/>
            <ac:cxnSpMk id="34" creationId="{8F32C1C4-3BEA-45BF-B0F3-0D311B4E795D}"/>
          </ac:cxnSpMkLst>
        </pc:cxnChg>
        <pc:cxnChg chg="del mod">
          <ac:chgData name="Per Hovde" userId="336a567d-735c-4805-ba8e-b6f07afebca7" providerId="ADAL" clId="{CB580856-5493-431D-AE34-8464573C8745}" dt="2021-11-08T08:19:36.753" v="4596" actId="478"/>
          <ac:cxnSpMkLst>
            <pc:docMk/>
            <pc:sldMk cId="610043161" sldId="5422"/>
            <ac:cxnSpMk id="35" creationId="{EB3228E3-79A9-4304-B3CB-F5CF005A54FF}"/>
          </ac:cxnSpMkLst>
        </pc:cxnChg>
      </pc:sldChg>
      <pc:sldChg chg="addSp modSp new mod">
        <pc:chgData name="Per Hovde" userId="336a567d-735c-4805-ba8e-b6f07afebca7" providerId="ADAL" clId="{CB580856-5493-431D-AE34-8464573C8745}" dt="2021-11-08T08:02:22.231" v="4250" actId="1076"/>
        <pc:sldMkLst>
          <pc:docMk/>
          <pc:sldMk cId="2850570824" sldId="5423"/>
        </pc:sldMkLst>
        <pc:spChg chg="mod">
          <ac:chgData name="Per Hovde" userId="336a567d-735c-4805-ba8e-b6f07afebca7" providerId="ADAL" clId="{CB580856-5493-431D-AE34-8464573C8745}" dt="2021-11-08T08:02:22.231" v="4250" actId="1076"/>
          <ac:spMkLst>
            <pc:docMk/>
            <pc:sldMk cId="2850570824" sldId="5423"/>
            <ac:spMk id="2" creationId="{A18191B6-554C-4925-BBAA-5DD99825F9CC}"/>
          </ac:spMkLst>
        </pc:spChg>
        <pc:picChg chg="add mod">
          <ac:chgData name="Per Hovde" userId="336a567d-735c-4805-ba8e-b6f07afebca7" providerId="ADAL" clId="{CB580856-5493-431D-AE34-8464573C8745}" dt="2021-11-08T08:02:09.658" v="4248" actId="1035"/>
          <ac:picMkLst>
            <pc:docMk/>
            <pc:sldMk cId="2850570824" sldId="5423"/>
            <ac:picMk id="6" creationId="{3CC2526D-DC88-46B3-BC54-2F49525F31AB}"/>
          </ac:picMkLst>
        </pc:picChg>
      </pc:sldChg>
      <pc:sldChg chg="modSp add mod ord">
        <pc:chgData name="Per Hovde" userId="336a567d-735c-4805-ba8e-b6f07afebca7" providerId="ADAL" clId="{CB580856-5493-431D-AE34-8464573C8745}" dt="2021-11-08T08:39:57.809" v="4857" actId="20577"/>
        <pc:sldMkLst>
          <pc:docMk/>
          <pc:sldMk cId="746857244" sldId="5424"/>
        </pc:sldMkLst>
        <pc:spChg chg="mod">
          <ac:chgData name="Per Hovde" userId="336a567d-735c-4805-ba8e-b6f07afebca7" providerId="ADAL" clId="{CB580856-5493-431D-AE34-8464573C8745}" dt="2021-11-08T08:39:57.809" v="4857" actId="20577"/>
          <ac:spMkLst>
            <pc:docMk/>
            <pc:sldMk cId="746857244" sldId="5424"/>
            <ac:spMk id="5" creationId="{9BAB3232-3BB5-423E-BBC5-66A2AC65BC3A}"/>
          </ac:spMkLst>
        </pc:spChg>
      </pc:sldChg>
      <pc:sldChg chg="addSp delSp modSp add del mod">
        <pc:chgData name="Per Hovde" userId="336a567d-735c-4805-ba8e-b6f07afebca7" providerId="ADAL" clId="{CB580856-5493-431D-AE34-8464573C8745}" dt="2021-11-09T09:29:30.936" v="5364" actId="47"/>
        <pc:sldMkLst>
          <pc:docMk/>
          <pc:sldMk cId="1600392749" sldId="5425"/>
        </pc:sldMkLst>
        <pc:spChg chg="add mod">
          <ac:chgData name="Per Hovde" userId="336a567d-735c-4805-ba8e-b6f07afebca7" providerId="ADAL" clId="{CB580856-5493-431D-AE34-8464573C8745}" dt="2021-11-09T09:09:43.038" v="5133" actId="1076"/>
          <ac:spMkLst>
            <pc:docMk/>
            <pc:sldMk cId="1600392749" sldId="5425"/>
            <ac:spMk id="20" creationId="{EC9F3F78-7CF3-427E-BCE7-20EFB799A7BF}"/>
          </ac:spMkLst>
        </pc:spChg>
        <pc:picChg chg="add del">
          <ac:chgData name="Per Hovde" userId="336a567d-735c-4805-ba8e-b6f07afebca7" providerId="ADAL" clId="{CB580856-5493-431D-AE34-8464573C8745}" dt="2021-11-09T09:09:23.717" v="5131" actId="22"/>
          <ac:picMkLst>
            <pc:docMk/>
            <pc:sldMk cId="1600392749" sldId="5425"/>
            <ac:picMk id="4" creationId="{0CD55CF8-A7D1-4BD9-84A2-B38649C41E3F}"/>
          </ac:picMkLst>
        </pc:picChg>
        <pc:cxnChg chg="mod">
          <ac:chgData name="Per Hovde" userId="336a567d-735c-4805-ba8e-b6f07afebca7" providerId="ADAL" clId="{CB580856-5493-431D-AE34-8464573C8745}" dt="2021-11-09T09:13:38.947" v="5178" actId="692"/>
          <ac:cxnSpMkLst>
            <pc:docMk/>
            <pc:sldMk cId="1600392749" sldId="5425"/>
            <ac:cxnSpMk id="24" creationId="{0E39D62F-0448-4301-8C30-D86D057C75C5}"/>
          </ac:cxnSpMkLst>
        </pc:cxnChg>
      </pc:sldChg>
      <pc:sldChg chg="addSp delSp modSp add del mod">
        <pc:chgData name="Per Hovde" userId="336a567d-735c-4805-ba8e-b6f07afebca7" providerId="ADAL" clId="{CB580856-5493-431D-AE34-8464573C8745}" dt="2021-11-09T09:29:32.866" v="5365" actId="47"/>
        <pc:sldMkLst>
          <pc:docMk/>
          <pc:sldMk cId="1298880963" sldId="5426"/>
        </pc:sldMkLst>
        <pc:spChg chg="del mod">
          <ac:chgData name="Per Hovde" userId="336a567d-735c-4805-ba8e-b6f07afebca7" providerId="ADAL" clId="{CB580856-5493-431D-AE34-8464573C8745}" dt="2021-11-09T09:16:26.899" v="5201" actId="478"/>
          <ac:spMkLst>
            <pc:docMk/>
            <pc:sldMk cId="1298880963" sldId="5426"/>
            <ac:spMk id="3" creationId="{C3C6B924-A6B1-4897-8020-5777870ECE6F}"/>
          </ac:spMkLst>
        </pc:spChg>
        <pc:spChg chg="mod">
          <ac:chgData name="Per Hovde" userId="336a567d-735c-4805-ba8e-b6f07afebca7" providerId="ADAL" clId="{CB580856-5493-431D-AE34-8464573C8745}" dt="2021-11-09T09:16:19.846" v="5200" actId="1035"/>
          <ac:spMkLst>
            <pc:docMk/>
            <pc:sldMk cId="1298880963" sldId="5426"/>
            <ac:spMk id="5" creationId="{989CAE94-4B42-4E8D-913B-CF588B97C515}"/>
          </ac:spMkLst>
        </pc:spChg>
        <pc:spChg chg="mod">
          <ac:chgData name="Per Hovde" userId="336a567d-735c-4805-ba8e-b6f07afebca7" providerId="ADAL" clId="{CB580856-5493-431D-AE34-8464573C8745}" dt="2021-11-09T09:16:19.846" v="5200" actId="1035"/>
          <ac:spMkLst>
            <pc:docMk/>
            <pc:sldMk cId="1298880963" sldId="5426"/>
            <ac:spMk id="6" creationId="{5937AAA9-F623-4247-98B5-B2B59F2B9185}"/>
          </ac:spMkLst>
        </pc:spChg>
        <pc:spChg chg="mod">
          <ac:chgData name="Per Hovde" userId="336a567d-735c-4805-ba8e-b6f07afebca7" providerId="ADAL" clId="{CB580856-5493-431D-AE34-8464573C8745}" dt="2021-11-09T09:15:40.510" v="5187" actId="14100"/>
          <ac:spMkLst>
            <pc:docMk/>
            <pc:sldMk cId="1298880963" sldId="5426"/>
            <ac:spMk id="17" creationId="{FFA01300-FFFB-4E2F-8399-7ACF2234CCFA}"/>
          </ac:spMkLst>
        </pc:spChg>
        <pc:spChg chg="mod">
          <ac:chgData name="Per Hovde" userId="336a567d-735c-4805-ba8e-b6f07afebca7" providerId="ADAL" clId="{CB580856-5493-431D-AE34-8464573C8745}" dt="2021-11-09T09:16:19.846" v="5200" actId="1035"/>
          <ac:spMkLst>
            <pc:docMk/>
            <pc:sldMk cId="1298880963" sldId="5426"/>
            <ac:spMk id="20" creationId="{EC9F3F78-7CF3-427E-BCE7-20EFB799A7BF}"/>
          </ac:spMkLst>
        </pc:spChg>
        <pc:spChg chg="add mod">
          <ac:chgData name="Per Hovde" userId="336a567d-735c-4805-ba8e-b6f07afebca7" providerId="ADAL" clId="{CB580856-5493-431D-AE34-8464573C8745}" dt="2021-11-09T09:16:19.846" v="5200" actId="1035"/>
          <ac:spMkLst>
            <pc:docMk/>
            <pc:sldMk cId="1298880963" sldId="5426"/>
            <ac:spMk id="23" creationId="{E61FE8FA-D8A8-40E5-8BED-C7B5791E57C0}"/>
          </ac:spMkLst>
        </pc:spChg>
        <pc:spChg chg="add mod">
          <ac:chgData name="Per Hovde" userId="336a567d-735c-4805-ba8e-b6f07afebca7" providerId="ADAL" clId="{CB580856-5493-431D-AE34-8464573C8745}" dt="2021-11-09T09:16:41.110" v="5202" actId="14100"/>
          <ac:spMkLst>
            <pc:docMk/>
            <pc:sldMk cId="1298880963" sldId="5426"/>
            <ac:spMk id="39" creationId="{5356B58C-8683-4152-A1DA-7906B7472773}"/>
          </ac:spMkLst>
        </pc:spChg>
        <pc:spChg chg="mod">
          <ac:chgData name="Per Hovde" userId="336a567d-735c-4805-ba8e-b6f07afebca7" providerId="ADAL" clId="{CB580856-5493-431D-AE34-8464573C8745}" dt="2021-11-09T09:16:19.846" v="5200" actId="1035"/>
          <ac:spMkLst>
            <pc:docMk/>
            <pc:sldMk cId="1298880963" sldId="5426"/>
            <ac:spMk id="40" creationId="{3972C8E8-316A-45DB-BF04-562E431CD41F}"/>
          </ac:spMkLst>
        </pc:spChg>
        <pc:picChg chg="add del">
          <ac:chgData name="Per Hovde" userId="336a567d-735c-4805-ba8e-b6f07afebca7" providerId="ADAL" clId="{CB580856-5493-431D-AE34-8464573C8745}" dt="2021-11-09T09:10:08.033" v="5136"/>
          <ac:picMkLst>
            <pc:docMk/>
            <pc:sldMk cId="1298880963" sldId="5426"/>
            <ac:picMk id="2" creationId="{143F4E58-995E-4FF2-9E48-4DC30328F4F6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8" creationId="{818939BD-B446-41F4-A278-BDAD1E1AE690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10" creationId="{0033021A-DCC1-483B-92FC-04006E9AB059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14" creationId="{36E2B7F1-1013-43C2-9011-77A005CD69F8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16" creationId="{A081E4F1-AAC2-4308-AEE7-B51FF06E05BD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18" creationId="{AEA0F132-B68F-4422-9DBC-C86CD2ABC29B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21" creationId="{6CFE8A98-4043-4E44-9F38-1537D125565B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22" creationId="{9091AD32-DBC4-4D2D-84DB-AAEACD9A0E63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28" creationId="{C1C58CE6-046B-43A0-948A-551DD2F8BD03}"/>
          </ac:picMkLst>
        </pc:picChg>
        <pc:picChg chg="mod">
          <ac:chgData name="Per Hovde" userId="336a567d-735c-4805-ba8e-b6f07afebca7" providerId="ADAL" clId="{CB580856-5493-431D-AE34-8464573C8745}" dt="2021-11-09T09:16:19.846" v="5200" actId="1035"/>
          <ac:picMkLst>
            <pc:docMk/>
            <pc:sldMk cId="1298880963" sldId="5426"/>
            <ac:picMk id="36" creationId="{9A65859F-DECA-4346-A167-0B74FFB7038A}"/>
          </ac:picMkLst>
        </pc:picChg>
        <pc:cxnChg chg="mod">
          <ac:chgData name="Per Hovde" userId="336a567d-735c-4805-ba8e-b6f07afebca7" providerId="ADAL" clId="{CB580856-5493-431D-AE34-8464573C8745}" dt="2021-11-09T09:16:19.846" v="5200" actId="1035"/>
          <ac:cxnSpMkLst>
            <pc:docMk/>
            <pc:sldMk cId="1298880963" sldId="5426"/>
            <ac:cxnSpMk id="24" creationId="{0E39D62F-0448-4301-8C30-D86D057C75C5}"/>
          </ac:cxnSpMkLst>
        </pc:cxnChg>
        <pc:cxnChg chg="add mod">
          <ac:chgData name="Per Hovde" userId="336a567d-735c-4805-ba8e-b6f07afebca7" providerId="ADAL" clId="{CB580856-5493-431D-AE34-8464573C8745}" dt="2021-11-09T09:16:19.846" v="5200" actId="1035"/>
          <ac:cxnSpMkLst>
            <pc:docMk/>
            <pc:sldMk cId="1298880963" sldId="5426"/>
            <ac:cxnSpMk id="25" creationId="{78ABA829-A0E0-44FB-BA9C-7001803FF392}"/>
          </ac:cxnSpMkLst>
        </pc:cxnChg>
        <pc:cxnChg chg="add mod">
          <ac:chgData name="Per Hovde" userId="336a567d-735c-4805-ba8e-b6f07afebca7" providerId="ADAL" clId="{CB580856-5493-431D-AE34-8464573C8745}" dt="2021-11-09T09:16:19.846" v="5200" actId="1035"/>
          <ac:cxnSpMkLst>
            <pc:docMk/>
            <pc:sldMk cId="1298880963" sldId="5426"/>
            <ac:cxnSpMk id="26" creationId="{254C73F0-E75C-4819-969F-C6E1A0D3B52A}"/>
          </ac:cxnSpMkLst>
        </pc:cxnChg>
        <pc:cxnChg chg="add del mod">
          <ac:chgData name="Per Hovde" userId="336a567d-735c-4805-ba8e-b6f07afebca7" providerId="ADAL" clId="{CB580856-5493-431D-AE34-8464573C8745}" dt="2021-11-09T09:12:48.687" v="5165" actId="478"/>
          <ac:cxnSpMkLst>
            <pc:docMk/>
            <pc:sldMk cId="1298880963" sldId="5426"/>
            <ac:cxnSpMk id="30" creationId="{AB3DF37E-FF36-4EBB-90E7-A2C8DF8287CD}"/>
          </ac:cxnSpMkLst>
        </pc:cxnChg>
        <pc:cxnChg chg="add mod">
          <ac:chgData name="Per Hovde" userId="336a567d-735c-4805-ba8e-b6f07afebca7" providerId="ADAL" clId="{CB580856-5493-431D-AE34-8464573C8745}" dt="2021-11-09T09:16:19.846" v="5200" actId="1035"/>
          <ac:cxnSpMkLst>
            <pc:docMk/>
            <pc:sldMk cId="1298880963" sldId="5426"/>
            <ac:cxnSpMk id="34" creationId="{0A3B656F-8654-4DCE-A71A-2A570EB378A5}"/>
          </ac:cxnSpMkLst>
        </pc:cxnChg>
        <pc:cxnChg chg="mod">
          <ac:chgData name="Per Hovde" userId="336a567d-735c-4805-ba8e-b6f07afebca7" providerId="ADAL" clId="{CB580856-5493-431D-AE34-8464573C8745}" dt="2021-11-09T09:16:19.846" v="5200" actId="1035"/>
          <ac:cxnSpMkLst>
            <pc:docMk/>
            <pc:sldMk cId="1298880963" sldId="5426"/>
            <ac:cxnSpMk id="38" creationId="{0F5950D2-000A-4F4B-B5E7-63C2CE379EA0}"/>
          </ac:cxnSpMkLst>
        </pc:cxnChg>
      </pc:sldChg>
      <pc:sldChg chg="addSp modSp add del mod">
        <pc:chgData name="Per Hovde" userId="336a567d-735c-4805-ba8e-b6f07afebca7" providerId="ADAL" clId="{CB580856-5493-431D-AE34-8464573C8745}" dt="2021-11-09T09:24:54.765" v="5338" actId="47"/>
        <pc:sldMkLst>
          <pc:docMk/>
          <pc:sldMk cId="775630229" sldId="5427"/>
        </pc:sldMkLst>
        <pc:spChg chg="add mod">
          <ac:chgData name="Per Hovde" userId="336a567d-735c-4805-ba8e-b6f07afebca7" providerId="ADAL" clId="{CB580856-5493-431D-AE34-8464573C8745}" dt="2021-11-09T09:18:21.143" v="5226" actId="14100"/>
          <ac:spMkLst>
            <pc:docMk/>
            <pc:sldMk cId="775630229" sldId="5427"/>
            <ac:spMk id="27" creationId="{6EE87171-2EAD-4059-A9E7-80E310A6E046}"/>
          </ac:spMkLst>
        </pc:spChg>
        <pc:cxnChg chg="add mod">
          <ac:chgData name="Per Hovde" userId="336a567d-735c-4805-ba8e-b6f07afebca7" providerId="ADAL" clId="{CB580856-5493-431D-AE34-8464573C8745}" dt="2021-11-09T09:18:51.641" v="5232" actId="692"/>
          <ac:cxnSpMkLst>
            <pc:docMk/>
            <pc:sldMk cId="775630229" sldId="5427"/>
            <ac:cxnSpMk id="29" creationId="{CB530F22-F9BB-44D2-B46E-731E9F27ABDF}"/>
          </ac:cxnSpMkLst>
        </pc:cxnChg>
        <pc:cxnChg chg="add mod">
          <ac:chgData name="Per Hovde" userId="336a567d-735c-4805-ba8e-b6f07afebca7" providerId="ADAL" clId="{CB580856-5493-431D-AE34-8464573C8745}" dt="2021-11-09T09:18:46.935" v="5231" actId="692"/>
          <ac:cxnSpMkLst>
            <pc:docMk/>
            <pc:sldMk cId="775630229" sldId="5427"/>
            <ac:cxnSpMk id="30" creationId="{46792841-6069-4D6C-A8AA-A8AB98D7F783}"/>
          </ac:cxnSpMkLst>
        </pc:cxnChg>
      </pc:sldChg>
      <pc:sldChg chg="addSp delSp modSp add mod">
        <pc:chgData name="Per Hovde" userId="336a567d-735c-4805-ba8e-b6f07afebca7" providerId="ADAL" clId="{CB580856-5493-431D-AE34-8464573C8745}" dt="2021-11-09T09:53:35.445" v="5549" actId="478"/>
        <pc:sldMkLst>
          <pc:docMk/>
          <pc:sldMk cId="3213898315" sldId="5428"/>
        </pc:sldMkLst>
        <pc:spChg chg="add del mod">
          <ac:chgData name="Per Hovde" userId="336a567d-735c-4805-ba8e-b6f07afebca7" providerId="ADAL" clId="{CB580856-5493-431D-AE34-8464573C8745}" dt="2021-11-09T09:27:05.736" v="5353" actId="478"/>
          <ac:spMkLst>
            <pc:docMk/>
            <pc:sldMk cId="3213898315" sldId="5428"/>
            <ac:spMk id="2" creationId="{58474331-1D6C-48D2-B305-77CEEE36C06F}"/>
          </ac:spMkLst>
        </pc:spChg>
        <pc:spChg chg="del mod">
          <ac:chgData name="Per Hovde" userId="336a567d-735c-4805-ba8e-b6f07afebca7" providerId="ADAL" clId="{CB580856-5493-431D-AE34-8464573C8745}" dt="2021-11-09T09:53:35.445" v="5549" actId="478"/>
          <ac:spMkLst>
            <pc:docMk/>
            <pc:sldMk cId="3213898315" sldId="5428"/>
            <ac:spMk id="5" creationId="{989CAE94-4B42-4E8D-913B-CF588B97C515}"/>
          </ac:spMkLst>
        </pc:spChg>
        <pc:spChg chg="del mod">
          <ac:chgData name="Per Hovde" userId="336a567d-735c-4805-ba8e-b6f07afebca7" providerId="ADAL" clId="{CB580856-5493-431D-AE34-8464573C8745}" dt="2021-11-09T09:28:12.158" v="5359" actId="478"/>
          <ac:spMkLst>
            <pc:docMk/>
            <pc:sldMk cId="3213898315" sldId="5428"/>
            <ac:spMk id="6" creationId="{5937AAA9-F623-4247-98B5-B2B59F2B9185}"/>
          </ac:spMkLst>
        </pc:spChg>
        <pc:spChg chg="del mod">
          <ac:chgData name="Per Hovde" userId="336a567d-735c-4805-ba8e-b6f07afebca7" providerId="ADAL" clId="{CB580856-5493-431D-AE34-8464573C8745}" dt="2021-11-09T09:26:21.023" v="5348" actId="478"/>
          <ac:spMkLst>
            <pc:docMk/>
            <pc:sldMk cId="3213898315" sldId="5428"/>
            <ac:spMk id="20" creationId="{EC9F3F78-7CF3-427E-BCE7-20EFB799A7BF}"/>
          </ac:spMkLst>
        </pc:spChg>
        <pc:spChg chg="del mod">
          <ac:chgData name="Per Hovde" userId="336a567d-735c-4805-ba8e-b6f07afebca7" providerId="ADAL" clId="{CB580856-5493-431D-AE34-8464573C8745}" dt="2021-11-09T09:26:06.582" v="5345" actId="478"/>
          <ac:spMkLst>
            <pc:docMk/>
            <pc:sldMk cId="3213898315" sldId="5428"/>
            <ac:spMk id="23" creationId="{E61FE8FA-D8A8-40E5-8BED-C7B5791E57C0}"/>
          </ac:spMkLst>
        </pc:spChg>
        <pc:spChg chg="del mod">
          <ac:chgData name="Per Hovde" userId="336a567d-735c-4805-ba8e-b6f07afebca7" providerId="ADAL" clId="{CB580856-5493-431D-AE34-8464573C8745}" dt="2021-11-09T09:25:09.518" v="5340" actId="478"/>
          <ac:spMkLst>
            <pc:docMk/>
            <pc:sldMk cId="3213898315" sldId="5428"/>
            <ac:spMk id="27" creationId="{6EE87171-2EAD-4059-A9E7-80E310A6E046}"/>
          </ac:spMkLst>
        </pc:spChg>
        <pc:spChg chg="add del mod ord">
          <ac:chgData name="Per Hovde" userId="336a567d-735c-4805-ba8e-b6f07afebca7" providerId="ADAL" clId="{CB580856-5493-431D-AE34-8464573C8745}" dt="2021-11-09T09:24:38.047" v="5337" actId="478"/>
          <ac:spMkLst>
            <pc:docMk/>
            <pc:sldMk cId="3213898315" sldId="5428"/>
            <ac:spMk id="31" creationId="{DFCE0214-62FD-4946-8FF5-8F238B9E02C1}"/>
          </ac:spMkLst>
        </pc:spChg>
        <pc:spChg chg="del mod">
          <ac:chgData name="Per Hovde" userId="336a567d-735c-4805-ba8e-b6f07afebca7" providerId="ADAL" clId="{CB580856-5493-431D-AE34-8464573C8745}" dt="2021-11-09T09:27:08.341" v="5354" actId="478"/>
          <ac:spMkLst>
            <pc:docMk/>
            <pc:sldMk cId="3213898315" sldId="5428"/>
            <ac:spMk id="39" creationId="{5356B58C-8683-4152-A1DA-7906B7472773}"/>
          </ac:spMkLst>
        </pc:spChg>
        <pc:spChg chg="del mod">
          <ac:chgData name="Per Hovde" userId="336a567d-735c-4805-ba8e-b6f07afebca7" providerId="ADAL" clId="{CB580856-5493-431D-AE34-8464573C8745}" dt="2021-11-09T09:28:06.395" v="5358" actId="478"/>
          <ac:spMkLst>
            <pc:docMk/>
            <pc:sldMk cId="3213898315" sldId="5428"/>
            <ac:spMk id="40" creationId="{3972C8E8-316A-45DB-BF04-562E431CD41F}"/>
          </ac:spMkLst>
        </pc:spChg>
        <pc:picChg chg="del mod">
          <ac:chgData name="Per Hovde" userId="336a567d-735c-4805-ba8e-b6f07afebca7" providerId="ADAL" clId="{CB580856-5493-431D-AE34-8464573C8745}" dt="2021-11-09T09:28:06.395" v="5358" actId="478"/>
          <ac:picMkLst>
            <pc:docMk/>
            <pc:sldMk cId="3213898315" sldId="5428"/>
            <ac:picMk id="8" creationId="{818939BD-B446-41F4-A278-BDAD1E1AE690}"/>
          </ac:picMkLst>
        </pc:picChg>
        <pc:picChg chg="del mod">
          <ac:chgData name="Per Hovde" userId="336a567d-735c-4805-ba8e-b6f07afebca7" providerId="ADAL" clId="{CB580856-5493-431D-AE34-8464573C8745}" dt="2021-11-09T09:28:12.158" v="5359" actId="478"/>
          <ac:picMkLst>
            <pc:docMk/>
            <pc:sldMk cId="3213898315" sldId="5428"/>
            <ac:picMk id="10" creationId="{0033021A-DCC1-483B-92FC-04006E9AB059}"/>
          </ac:picMkLst>
        </pc:picChg>
        <pc:picChg chg="del mod">
          <ac:chgData name="Per Hovde" userId="336a567d-735c-4805-ba8e-b6f07afebca7" providerId="ADAL" clId="{CB580856-5493-431D-AE34-8464573C8745}" dt="2021-11-09T09:28:12.158" v="5359" actId="478"/>
          <ac:picMkLst>
            <pc:docMk/>
            <pc:sldMk cId="3213898315" sldId="5428"/>
            <ac:picMk id="14" creationId="{36E2B7F1-1013-43C2-9011-77A005CD69F8}"/>
          </ac:picMkLst>
        </pc:picChg>
        <pc:picChg chg="del mod">
          <ac:chgData name="Per Hovde" userId="336a567d-735c-4805-ba8e-b6f07afebca7" providerId="ADAL" clId="{CB580856-5493-431D-AE34-8464573C8745}" dt="2021-11-09T09:28:12.158" v="5359" actId="478"/>
          <ac:picMkLst>
            <pc:docMk/>
            <pc:sldMk cId="3213898315" sldId="5428"/>
            <ac:picMk id="16" creationId="{A081E4F1-AAC2-4308-AEE7-B51FF06E05BD}"/>
          </ac:picMkLst>
        </pc:picChg>
        <pc:picChg chg="del mod">
          <ac:chgData name="Per Hovde" userId="336a567d-735c-4805-ba8e-b6f07afebca7" providerId="ADAL" clId="{CB580856-5493-431D-AE34-8464573C8745}" dt="2021-11-09T09:28:12.158" v="5359" actId="478"/>
          <ac:picMkLst>
            <pc:docMk/>
            <pc:sldMk cId="3213898315" sldId="5428"/>
            <ac:picMk id="18" creationId="{AEA0F132-B68F-4422-9DBC-C86CD2ABC29B}"/>
          </ac:picMkLst>
        </pc:picChg>
        <pc:picChg chg="del mod">
          <ac:chgData name="Per Hovde" userId="336a567d-735c-4805-ba8e-b6f07afebca7" providerId="ADAL" clId="{CB580856-5493-431D-AE34-8464573C8745}" dt="2021-11-09T09:28:06.395" v="5358" actId="478"/>
          <ac:picMkLst>
            <pc:docMk/>
            <pc:sldMk cId="3213898315" sldId="5428"/>
            <ac:picMk id="21" creationId="{6CFE8A98-4043-4E44-9F38-1537D125565B}"/>
          </ac:picMkLst>
        </pc:picChg>
        <pc:picChg chg="del mod">
          <ac:chgData name="Per Hovde" userId="336a567d-735c-4805-ba8e-b6f07afebca7" providerId="ADAL" clId="{CB580856-5493-431D-AE34-8464573C8745}" dt="2021-11-09T09:28:12.158" v="5359" actId="478"/>
          <ac:picMkLst>
            <pc:docMk/>
            <pc:sldMk cId="3213898315" sldId="5428"/>
            <ac:picMk id="22" creationId="{9091AD32-DBC4-4D2D-84DB-AAEACD9A0E63}"/>
          </ac:picMkLst>
        </pc:picChg>
        <pc:picChg chg="del mod">
          <ac:chgData name="Per Hovde" userId="336a567d-735c-4805-ba8e-b6f07afebca7" providerId="ADAL" clId="{CB580856-5493-431D-AE34-8464573C8745}" dt="2021-11-09T09:28:06.395" v="5358" actId="478"/>
          <ac:picMkLst>
            <pc:docMk/>
            <pc:sldMk cId="3213898315" sldId="5428"/>
            <ac:picMk id="28" creationId="{C1C58CE6-046B-43A0-948A-551DD2F8BD03}"/>
          </ac:picMkLst>
        </pc:picChg>
        <pc:picChg chg="del mod">
          <ac:chgData name="Per Hovde" userId="336a567d-735c-4805-ba8e-b6f07afebca7" providerId="ADAL" clId="{CB580856-5493-431D-AE34-8464573C8745}" dt="2021-11-09T09:28:06.395" v="5358" actId="478"/>
          <ac:picMkLst>
            <pc:docMk/>
            <pc:sldMk cId="3213898315" sldId="5428"/>
            <ac:picMk id="36" creationId="{9A65859F-DECA-4346-A167-0B74FFB7038A}"/>
          </ac:picMkLst>
        </pc:picChg>
        <pc:cxnChg chg="del mod">
          <ac:chgData name="Per Hovde" userId="336a567d-735c-4805-ba8e-b6f07afebca7" providerId="ADAL" clId="{CB580856-5493-431D-AE34-8464573C8745}" dt="2021-11-09T09:28:12.158" v="5359" actId="478"/>
          <ac:cxnSpMkLst>
            <pc:docMk/>
            <pc:sldMk cId="3213898315" sldId="5428"/>
            <ac:cxnSpMk id="24" creationId="{0E39D62F-0448-4301-8C30-D86D057C75C5}"/>
          </ac:cxnSpMkLst>
        </pc:cxnChg>
        <pc:cxnChg chg="del mod">
          <ac:chgData name="Per Hovde" userId="336a567d-735c-4805-ba8e-b6f07afebca7" providerId="ADAL" clId="{CB580856-5493-431D-AE34-8464573C8745}" dt="2021-11-09T09:26:06.582" v="5345" actId="478"/>
          <ac:cxnSpMkLst>
            <pc:docMk/>
            <pc:sldMk cId="3213898315" sldId="5428"/>
            <ac:cxnSpMk id="25" creationId="{78ABA829-A0E0-44FB-BA9C-7001803FF392}"/>
          </ac:cxnSpMkLst>
        </pc:cxnChg>
        <pc:cxnChg chg="del mod">
          <ac:chgData name="Per Hovde" userId="336a567d-735c-4805-ba8e-b6f07afebca7" providerId="ADAL" clId="{CB580856-5493-431D-AE34-8464573C8745}" dt="2021-11-09T09:26:06.582" v="5345" actId="478"/>
          <ac:cxnSpMkLst>
            <pc:docMk/>
            <pc:sldMk cId="3213898315" sldId="5428"/>
            <ac:cxnSpMk id="26" creationId="{254C73F0-E75C-4819-969F-C6E1A0D3B52A}"/>
          </ac:cxnSpMkLst>
        </pc:cxnChg>
        <pc:cxnChg chg="del mod">
          <ac:chgData name="Per Hovde" userId="336a567d-735c-4805-ba8e-b6f07afebca7" providerId="ADAL" clId="{CB580856-5493-431D-AE34-8464573C8745}" dt="2021-11-09T09:25:12.719" v="5342" actId="478"/>
          <ac:cxnSpMkLst>
            <pc:docMk/>
            <pc:sldMk cId="3213898315" sldId="5428"/>
            <ac:cxnSpMk id="29" creationId="{CB530F22-F9BB-44D2-B46E-731E9F27ABDF}"/>
          </ac:cxnSpMkLst>
        </pc:cxnChg>
        <pc:cxnChg chg="del mod">
          <ac:chgData name="Per Hovde" userId="336a567d-735c-4805-ba8e-b6f07afebca7" providerId="ADAL" clId="{CB580856-5493-431D-AE34-8464573C8745}" dt="2021-11-09T09:25:11.186" v="5341" actId="478"/>
          <ac:cxnSpMkLst>
            <pc:docMk/>
            <pc:sldMk cId="3213898315" sldId="5428"/>
            <ac:cxnSpMk id="30" creationId="{46792841-6069-4D6C-A8AA-A8AB98D7F783}"/>
          </ac:cxnSpMkLst>
        </pc:cxnChg>
        <pc:cxnChg chg="del mod">
          <ac:chgData name="Per Hovde" userId="336a567d-735c-4805-ba8e-b6f07afebca7" providerId="ADAL" clId="{CB580856-5493-431D-AE34-8464573C8745}" dt="2021-11-09T09:26:09.151" v="5346" actId="478"/>
          <ac:cxnSpMkLst>
            <pc:docMk/>
            <pc:sldMk cId="3213898315" sldId="5428"/>
            <ac:cxnSpMk id="34" creationId="{0A3B656F-8654-4DCE-A71A-2A570EB378A5}"/>
          </ac:cxnSpMkLst>
        </pc:cxnChg>
        <pc:cxnChg chg="del mod">
          <ac:chgData name="Per Hovde" userId="336a567d-735c-4805-ba8e-b6f07afebca7" providerId="ADAL" clId="{CB580856-5493-431D-AE34-8464573C8745}" dt="2021-11-09T09:28:06.395" v="5358" actId="478"/>
          <ac:cxnSpMkLst>
            <pc:docMk/>
            <pc:sldMk cId="3213898315" sldId="5428"/>
            <ac:cxnSpMk id="38" creationId="{0F5950D2-000A-4F4B-B5E7-63C2CE379EA0}"/>
          </ac:cxnSpMkLst>
        </pc:cxnChg>
      </pc:sldChg>
      <pc:sldChg chg="addSp delSp modSp add mod">
        <pc:chgData name="Per Hovde" userId="336a567d-735c-4805-ba8e-b6f07afebca7" providerId="ADAL" clId="{CB580856-5493-431D-AE34-8464573C8745}" dt="2021-11-09T09:54:43.393" v="5572"/>
        <pc:sldMkLst>
          <pc:docMk/>
          <pc:sldMk cId="1549481609" sldId="5429"/>
        </pc:sldMkLst>
        <pc:spChg chg="del">
          <ac:chgData name="Per Hovde" userId="336a567d-735c-4805-ba8e-b6f07afebca7" providerId="ADAL" clId="{CB580856-5493-431D-AE34-8464573C8745}" dt="2021-11-09T09:54:42.018" v="5571" actId="478"/>
          <ac:spMkLst>
            <pc:docMk/>
            <pc:sldMk cId="1549481609" sldId="5429"/>
            <ac:spMk id="27" creationId="{6EE87171-2EAD-4059-A9E7-80E310A6E046}"/>
          </ac:spMkLst>
        </pc:spChg>
        <pc:spChg chg="add mod">
          <ac:chgData name="Per Hovde" userId="336a567d-735c-4805-ba8e-b6f07afebca7" providerId="ADAL" clId="{CB580856-5493-431D-AE34-8464573C8745}" dt="2021-11-09T09:54:43.393" v="5572"/>
          <ac:spMkLst>
            <pc:docMk/>
            <pc:sldMk cId="1549481609" sldId="5429"/>
            <ac:spMk id="32" creationId="{D4E308B6-8C4A-49AE-AC92-8638C5E4D0FA}"/>
          </ac:spMkLst>
        </pc:spChg>
      </pc:sldChg>
      <pc:sldChg chg="delSp modSp add mod">
        <pc:chgData name="Per Hovde" userId="336a567d-735c-4805-ba8e-b6f07afebca7" providerId="ADAL" clId="{CB580856-5493-431D-AE34-8464573C8745}" dt="2021-11-09T09:54:56.481" v="5573" actId="14100"/>
        <pc:sldMkLst>
          <pc:docMk/>
          <pc:sldMk cId="2068111393" sldId="5430"/>
        </pc:sldMkLst>
        <pc:spChg chg="del">
          <ac:chgData name="Per Hovde" userId="336a567d-735c-4805-ba8e-b6f07afebca7" providerId="ADAL" clId="{CB580856-5493-431D-AE34-8464573C8745}" dt="2021-11-09T09:26:51.485" v="5352" actId="478"/>
          <ac:spMkLst>
            <pc:docMk/>
            <pc:sldMk cId="2068111393" sldId="5430"/>
            <ac:spMk id="2" creationId="{58474331-1D6C-48D2-B305-77CEEE36C06F}"/>
          </ac:spMkLst>
        </pc:spChg>
        <pc:spChg chg="mod">
          <ac:chgData name="Per Hovde" userId="336a567d-735c-4805-ba8e-b6f07afebca7" providerId="ADAL" clId="{CB580856-5493-431D-AE34-8464573C8745}" dt="2021-11-09T09:54:26.828" v="5570" actId="20577"/>
          <ac:spMkLst>
            <pc:docMk/>
            <pc:sldMk cId="2068111393" sldId="5430"/>
            <ac:spMk id="27" creationId="{6EE87171-2EAD-4059-A9E7-80E310A6E046}"/>
          </ac:spMkLst>
        </pc:spChg>
        <pc:cxnChg chg="mod">
          <ac:chgData name="Per Hovde" userId="336a567d-735c-4805-ba8e-b6f07afebca7" providerId="ADAL" clId="{CB580856-5493-431D-AE34-8464573C8745}" dt="2021-11-09T09:54:56.481" v="5573" actId="14100"/>
          <ac:cxnSpMkLst>
            <pc:docMk/>
            <pc:sldMk cId="2068111393" sldId="5430"/>
            <ac:cxnSpMk id="29" creationId="{CB530F22-F9BB-44D2-B46E-731E9F27ABDF}"/>
          </ac:cxnSpMkLst>
        </pc:cxnChg>
      </pc:sldChg>
      <pc:sldChg chg="delSp add mod">
        <pc:chgData name="Per Hovde" userId="336a567d-735c-4805-ba8e-b6f07afebca7" providerId="ADAL" clId="{CB580856-5493-431D-AE34-8464573C8745}" dt="2021-11-09T09:26:46.737" v="5351" actId="478"/>
        <pc:sldMkLst>
          <pc:docMk/>
          <pc:sldMk cId="639612405" sldId="5431"/>
        </pc:sldMkLst>
        <pc:spChg chg="del">
          <ac:chgData name="Per Hovde" userId="336a567d-735c-4805-ba8e-b6f07afebca7" providerId="ADAL" clId="{CB580856-5493-431D-AE34-8464573C8745}" dt="2021-11-09T09:26:46.737" v="5351" actId="478"/>
          <ac:spMkLst>
            <pc:docMk/>
            <pc:sldMk cId="639612405" sldId="5431"/>
            <ac:spMk id="2" creationId="{58474331-1D6C-48D2-B305-77CEEE36C06F}"/>
          </ac:spMkLst>
        </pc:spChg>
      </pc:sldChg>
      <pc:sldChg chg="delSp add mod">
        <pc:chgData name="Per Hovde" userId="336a567d-735c-4805-ba8e-b6f07afebca7" providerId="ADAL" clId="{CB580856-5493-431D-AE34-8464573C8745}" dt="2021-11-09T09:26:41.535" v="5350" actId="478"/>
        <pc:sldMkLst>
          <pc:docMk/>
          <pc:sldMk cId="3851326224" sldId="5432"/>
        </pc:sldMkLst>
        <pc:spChg chg="del">
          <ac:chgData name="Per Hovde" userId="336a567d-735c-4805-ba8e-b6f07afebca7" providerId="ADAL" clId="{CB580856-5493-431D-AE34-8464573C8745}" dt="2021-11-09T09:26:41.535" v="5350" actId="478"/>
          <ac:spMkLst>
            <pc:docMk/>
            <pc:sldMk cId="3851326224" sldId="5432"/>
            <ac:spMk id="2" creationId="{58474331-1D6C-48D2-B305-77CEEE36C06F}"/>
          </ac:spMkLst>
        </pc:spChg>
        <pc:spChg chg="del">
          <ac:chgData name="Per Hovde" userId="336a567d-735c-4805-ba8e-b6f07afebca7" providerId="ADAL" clId="{CB580856-5493-431D-AE34-8464573C8745}" dt="2021-11-09T09:26:35.216" v="5349" actId="478"/>
          <ac:spMkLst>
            <pc:docMk/>
            <pc:sldMk cId="3851326224" sldId="5432"/>
            <ac:spMk id="39" creationId="{5356B58C-8683-4152-A1DA-7906B7472773}"/>
          </ac:spMkLst>
        </pc:spChg>
      </pc:sldChg>
      <pc:sldChg chg="add modNotesTx">
        <pc:chgData name="Per Hovde" userId="336a567d-735c-4805-ba8e-b6f07afebca7" providerId="ADAL" clId="{CB580856-5493-431D-AE34-8464573C8745}" dt="2021-11-09T09:56:08.911" v="5612" actId="20577"/>
        <pc:sldMkLst>
          <pc:docMk/>
          <pc:sldMk cId="1948874999" sldId="5433"/>
        </pc:sldMkLst>
      </pc:sldChg>
      <pc:sldChg chg="delSp add mod">
        <pc:chgData name="Per Hovde" userId="336a567d-735c-4805-ba8e-b6f07afebca7" providerId="ADAL" clId="{CB580856-5493-431D-AE34-8464573C8745}" dt="2021-11-09T09:28:43.975" v="5361" actId="478"/>
        <pc:sldMkLst>
          <pc:docMk/>
          <pc:sldMk cId="886631530" sldId="5434"/>
        </pc:sldMkLst>
        <pc:picChg chg="del">
          <ac:chgData name="Per Hovde" userId="336a567d-735c-4805-ba8e-b6f07afebca7" providerId="ADAL" clId="{CB580856-5493-431D-AE34-8464573C8745}" dt="2021-11-09T09:28:43.975" v="5361" actId="478"/>
          <ac:picMkLst>
            <pc:docMk/>
            <pc:sldMk cId="886631530" sldId="5434"/>
            <ac:picMk id="10" creationId="{0033021A-DCC1-483B-92FC-04006E9AB059}"/>
          </ac:picMkLst>
        </pc:picChg>
        <pc:picChg chg="del">
          <ac:chgData name="Per Hovde" userId="336a567d-735c-4805-ba8e-b6f07afebca7" providerId="ADAL" clId="{CB580856-5493-431D-AE34-8464573C8745}" dt="2021-11-09T09:28:43.975" v="5361" actId="478"/>
          <ac:picMkLst>
            <pc:docMk/>
            <pc:sldMk cId="886631530" sldId="5434"/>
            <ac:picMk id="14" creationId="{36E2B7F1-1013-43C2-9011-77A005CD69F8}"/>
          </ac:picMkLst>
        </pc:picChg>
        <pc:picChg chg="del">
          <ac:chgData name="Per Hovde" userId="336a567d-735c-4805-ba8e-b6f07afebca7" providerId="ADAL" clId="{CB580856-5493-431D-AE34-8464573C8745}" dt="2021-11-09T09:28:43.975" v="5361" actId="478"/>
          <ac:picMkLst>
            <pc:docMk/>
            <pc:sldMk cId="886631530" sldId="5434"/>
            <ac:picMk id="16" creationId="{A081E4F1-AAC2-4308-AEE7-B51FF06E05BD}"/>
          </ac:picMkLst>
        </pc:picChg>
        <pc:picChg chg="del">
          <ac:chgData name="Per Hovde" userId="336a567d-735c-4805-ba8e-b6f07afebca7" providerId="ADAL" clId="{CB580856-5493-431D-AE34-8464573C8745}" dt="2021-11-09T09:28:43.975" v="5361" actId="478"/>
          <ac:picMkLst>
            <pc:docMk/>
            <pc:sldMk cId="886631530" sldId="5434"/>
            <ac:picMk id="18" creationId="{AEA0F132-B68F-4422-9DBC-C86CD2ABC29B}"/>
          </ac:picMkLst>
        </pc:picChg>
        <pc:picChg chg="del">
          <ac:chgData name="Per Hovde" userId="336a567d-735c-4805-ba8e-b6f07afebca7" providerId="ADAL" clId="{CB580856-5493-431D-AE34-8464573C8745}" dt="2021-11-09T09:28:43.975" v="5361" actId="478"/>
          <ac:picMkLst>
            <pc:docMk/>
            <pc:sldMk cId="886631530" sldId="5434"/>
            <ac:picMk id="22" creationId="{9091AD32-DBC4-4D2D-84DB-AAEACD9A0E63}"/>
          </ac:picMkLst>
        </pc:picChg>
      </pc:sldChg>
      <pc:sldChg chg="delSp modSp add mod">
        <pc:chgData name="Per Hovde" userId="336a567d-735c-4805-ba8e-b6f07afebca7" providerId="ADAL" clId="{CB580856-5493-431D-AE34-8464573C8745}" dt="2021-11-09T09:28:22.084" v="5360" actId="478"/>
        <pc:sldMkLst>
          <pc:docMk/>
          <pc:sldMk cId="626041705" sldId="5435"/>
        </pc:sldMkLst>
        <pc:spChg chg="del">
          <ac:chgData name="Per Hovde" userId="336a567d-735c-4805-ba8e-b6f07afebca7" providerId="ADAL" clId="{CB580856-5493-431D-AE34-8464573C8745}" dt="2021-11-09T09:28:22.084" v="5360" actId="478"/>
          <ac:spMkLst>
            <pc:docMk/>
            <pc:sldMk cId="626041705" sldId="5435"/>
            <ac:spMk id="6" creationId="{5937AAA9-F623-4247-98B5-B2B59F2B9185}"/>
          </ac:spMkLst>
        </pc:spChg>
        <pc:picChg chg="del">
          <ac:chgData name="Per Hovde" userId="336a567d-735c-4805-ba8e-b6f07afebca7" providerId="ADAL" clId="{CB580856-5493-431D-AE34-8464573C8745}" dt="2021-11-09T09:28:22.084" v="5360" actId="478"/>
          <ac:picMkLst>
            <pc:docMk/>
            <pc:sldMk cId="626041705" sldId="5435"/>
            <ac:picMk id="10" creationId="{0033021A-DCC1-483B-92FC-04006E9AB059}"/>
          </ac:picMkLst>
        </pc:picChg>
        <pc:picChg chg="del">
          <ac:chgData name="Per Hovde" userId="336a567d-735c-4805-ba8e-b6f07afebca7" providerId="ADAL" clId="{CB580856-5493-431D-AE34-8464573C8745}" dt="2021-11-09T09:28:22.084" v="5360" actId="478"/>
          <ac:picMkLst>
            <pc:docMk/>
            <pc:sldMk cId="626041705" sldId="5435"/>
            <ac:picMk id="14" creationId="{36E2B7F1-1013-43C2-9011-77A005CD69F8}"/>
          </ac:picMkLst>
        </pc:picChg>
        <pc:picChg chg="del">
          <ac:chgData name="Per Hovde" userId="336a567d-735c-4805-ba8e-b6f07afebca7" providerId="ADAL" clId="{CB580856-5493-431D-AE34-8464573C8745}" dt="2021-11-09T09:28:22.084" v="5360" actId="478"/>
          <ac:picMkLst>
            <pc:docMk/>
            <pc:sldMk cId="626041705" sldId="5435"/>
            <ac:picMk id="16" creationId="{A081E4F1-AAC2-4308-AEE7-B51FF06E05BD}"/>
          </ac:picMkLst>
        </pc:picChg>
        <pc:picChg chg="del">
          <ac:chgData name="Per Hovde" userId="336a567d-735c-4805-ba8e-b6f07afebca7" providerId="ADAL" clId="{CB580856-5493-431D-AE34-8464573C8745}" dt="2021-11-09T09:28:22.084" v="5360" actId="478"/>
          <ac:picMkLst>
            <pc:docMk/>
            <pc:sldMk cId="626041705" sldId="5435"/>
            <ac:picMk id="18" creationId="{AEA0F132-B68F-4422-9DBC-C86CD2ABC29B}"/>
          </ac:picMkLst>
        </pc:picChg>
        <pc:picChg chg="del">
          <ac:chgData name="Per Hovde" userId="336a567d-735c-4805-ba8e-b6f07afebca7" providerId="ADAL" clId="{CB580856-5493-431D-AE34-8464573C8745}" dt="2021-11-09T09:28:22.084" v="5360" actId="478"/>
          <ac:picMkLst>
            <pc:docMk/>
            <pc:sldMk cId="626041705" sldId="5435"/>
            <ac:picMk id="22" creationId="{9091AD32-DBC4-4D2D-84DB-AAEACD9A0E63}"/>
          </ac:picMkLst>
        </pc:picChg>
        <pc:cxnChg chg="del mod">
          <ac:chgData name="Per Hovde" userId="336a567d-735c-4805-ba8e-b6f07afebca7" providerId="ADAL" clId="{CB580856-5493-431D-AE34-8464573C8745}" dt="2021-11-09T09:28:22.084" v="5360" actId="478"/>
          <ac:cxnSpMkLst>
            <pc:docMk/>
            <pc:sldMk cId="626041705" sldId="5435"/>
            <ac:cxnSpMk id="24" creationId="{0E39D62F-0448-4301-8C30-D86D057C75C5}"/>
          </ac:cxnSpMkLst>
        </pc:cxnChg>
      </pc:sldChg>
      <pc:sldChg chg="add ord">
        <pc:chgData name="Per Hovde" userId="336a567d-735c-4805-ba8e-b6f07afebca7" providerId="ADAL" clId="{CB580856-5493-431D-AE34-8464573C8745}" dt="2021-11-09T09:32:10.973" v="5375"/>
        <pc:sldMkLst>
          <pc:docMk/>
          <pc:sldMk cId="3360891429" sldId="5436"/>
        </pc:sldMkLst>
      </pc:sldChg>
      <pc:sldChg chg="add">
        <pc:chgData name="Per Hovde" userId="336a567d-735c-4805-ba8e-b6f07afebca7" providerId="ADAL" clId="{CB580856-5493-431D-AE34-8464573C8745}" dt="2021-11-09T09:53:29.025" v="5547" actId="2890"/>
        <pc:sldMkLst>
          <pc:docMk/>
          <pc:sldMk cId="1187582072" sldId="5437"/>
        </pc:sldMkLst>
      </pc:sldChg>
    </pc:docChg>
  </pc:docChgLst>
  <pc:docChgLst>
    <pc:chgData name="Per Hovde" userId="336a567d-735c-4805-ba8e-b6f07afebca7" providerId="ADAL" clId="{34EF69C2-02DC-4380-83E0-FAEF73C5D6BC}"/>
    <pc:docChg chg="undo custSel addSld delSld modSld sldOrd">
      <pc:chgData name="Per Hovde" userId="336a567d-735c-4805-ba8e-b6f07afebca7" providerId="ADAL" clId="{34EF69C2-02DC-4380-83E0-FAEF73C5D6BC}" dt="2021-11-12T10:57:40.138" v="1045" actId="20577"/>
      <pc:docMkLst>
        <pc:docMk/>
      </pc:docMkLst>
      <pc:sldChg chg="mod modShow">
        <pc:chgData name="Per Hovde" userId="336a567d-735c-4805-ba8e-b6f07afebca7" providerId="ADAL" clId="{34EF69C2-02DC-4380-83E0-FAEF73C5D6BC}" dt="2021-11-12T09:20:26.817" v="130" actId="729"/>
        <pc:sldMkLst>
          <pc:docMk/>
          <pc:sldMk cId="2639478547" sldId="257"/>
        </pc:sldMkLst>
      </pc:sldChg>
      <pc:sldChg chg="del">
        <pc:chgData name="Per Hovde" userId="336a567d-735c-4805-ba8e-b6f07afebca7" providerId="ADAL" clId="{34EF69C2-02DC-4380-83E0-FAEF73C5D6BC}" dt="2021-11-12T09:16:30.161" v="3" actId="47"/>
        <pc:sldMkLst>
          <pc:docMk/>
          <pc:sldMk cId="362900805" sldId="279"/>
        </pc:sldMkLst>
      </pc:sldChg>
      <pc:sldChg chg="addSp delSp modSp">
        <pc:chgData name="Per Hovde" userId="336a567d-735c-4805-ba8e-b6f07afebca7" providerId="ADAL" clId="{34EF69C2-02DC-4380-83E0-FAEF73C5D6BC}" dt="2021-11-12T09:43:21.946" v="788"/>
        <pc:sldMkLst>
          <pc:docMk/>
          <pc:sldMk cId="1487953720" sldId="1002"/>
        </pc:sldMkLst>
        <pc:spChg chg="add del mod">
          <ac:chgData name="Per Hovde" userId="336a567d-735c-4805-ba8e-b6f07afebca7" providerId="ADAL" clId="{34EF69C2-02DC-4380-83E0-FAEF73C5D6BC}" dt="2021-11-12T09:43:21.946" v="788"/>
          <ac:spMkLst>
            <pc:docMk/>
            <pc:sldMk cId="1487953720" sldId="1002"/>
            <ac:spMk id="7" creationId="{CC963E10-6A42-414C-A5CE-50A94ED568E8}"/>
          </ac:spMkLst>
        </pc:spChg>
      </pc:sldChg>
      <pc:sldChg chg="del">
        <pc:chgData name="Per Hovde" userId="336a567d-735c-4805-ba8e-b6f07afebca7" providerId="ADAL" clId="{34EF69C2-02DC-4380-83E0-FAEF73C5D6BC}" dt="2021-11-12T09:16:35.873" v="5" actId="47"/>
        <pc:sldMkLst>
          <pc:docMk/>
          <pc:sldMk cId="2818985734" sldId="1010"/>
        </pc:sldMkLst>
      </pc:sldChg>
      <pc:sldChg chg="del">
        <pc:chgData name="Per Hovde" userId="336a567d-735c-4805-ba8e-b6f07afebca7" providerId="ADAL" clId="{34EF69C2-02DC-4380-83E0-FAEF73C5D6BC}" dt="2021-11-12T09:16:36.637" v="6" actId="47"/>
        <pc:sldMkLst>
          <pc:docMk/>
          <pc:sldMk cId="3867117321" sldId="1011"/>
        </pc:sldMkLst>
      </pc:sldChg>
      <pc:sldChg chg="del">
        <pc:chgData name="Per Hovde" userId="336a567d-735c-4805-ba8e-b6f07afebca7" providerId="ADAL" clId="{34EF69C2-02DC-4380-83E0-FAEF73C5D6BC}" dt="2021-11-12T09:16:37.622" v="7" actId="47"/>
        <pc:sldMkLst>
          <pc:docMk/>
          <pc:sldMk cId="1043179190" sldId="1012"/>
        </pc:sldMkLst>
      </pc:sldChg>
      <pc:sldChg chg="modSp mod">
        <pc:chgData name="Per Hovde" userId="336a567d-735c-4805-ba8e-b6f07afebca7" providerId="ADAL" clId="{34EF69C2-02DC-4380-83E0-FAEF73C5D6BC}" dt="2021-11-12T09:54:19.998" v="935" actId="20577"/>
        <pc:sldMkLst>
          <pc:docMk/>
          <pc:sldMk cId="387405084" sldId="1015"/>
        </pc:sldMkLst>
        <pc:spChg chg="mod">
          <ac:chgData name="Per Hovde" userId="336a567d-735c-4805-ba8e-b6f07afebca7" providerId="ADAL" clId="{34EF69C2-02DC-4380-83E0-FAEF73C5D6BC}" dt="2021-11-12T09:54:19.998" v="935" actId="20577"/>
          <ac:spMkLst>
            <pc:docMk/>
            <pc:sldMk cId="387405084" sldId="1015"/>
            <ac:spMk id="2" creationId="{B8C84B1A-F4E2-4029-A614-4CFC667E3793}"/>
          </ac:spMkLst>
        </pc:spChg>
      </pc:sldChg>
      <pc:sldChg chg="addSp delSp modSp mod modNotesTx">
        <pc:chgData name="Per Hovde" userId="336a567d-735c-4805-ba8e-b6f07afebca7" providerId="ADAL" clId="{34EF69C2-02DC-4380-83E0-FAEF73C5D6BC}" dt="2021-11-12T09:56:08.631" v="944" actId="20577"/>
        <pc:sldMkLst>
          <pc:docMk/>
          <pc:sldMk cId="3330499832" sldId="1016"/>
        </pc:sldMkLst>
        <pc:spChg chg="mod">
          <ac:chgData name="Per Hovde" userId="336a567d-735c-4805-ba8e-b6f07afebca7" providerId="ADAL" clId="{34EF69C2-02DC-4380-83E0-FAEF73C5D6BC}" dt="2021-11-12T09:55:57.862" v="937" actId="20577"/>
          <ac:spMkLst>
            <pc:docMk/>
            <pc:sldMk cId="3330499832" sldId="1016"/>
            <ac:spMk id="2" creationId="{35B71205-346A-4F4C-86C6-574835093C23}"/>
          </ac:spMkLst>
        </pc:spChg>
        <pc:graphicFrameChg chg="add mod modGraphic">
          <ac:chgData name="Per Hovde" userId="336a567d-735c-4805-ba8e-b6f07afebca7" providerId="ADAL" clId="{34EF69C2-02DC-4380-83E0-FAEF73C5D6BC}" dt="2021-11-12T09:56:08.631" v="944" actId="20577"/>
          <ac:graphicFrameMkLst>
            <pc:docMk/>
            <pc:sldMk cId="3330499832" sldId="1016"/>
            <ac:graphicFrameMk id="7" creationId="{79ECCED9-7AC6-4300-BB18-00264884E2AF}"/>
          </ac:graphicFrameMkLst>
        </pc:graphicFrameChg>
        <pc:picChg chg="mod">
          <ac:chgData name="Per Hovde" userId="336a567d-735c-4805-ba8e-b6f07afebca7" providerId="ADAL" clId="{34EF69C2-02DC-4380-83E0-FAEF73C5D6BC}" dt="2021-11-12T09:24:44.993" v="152" actId="1035"/>
          <ac:picMkLst>
            <pc:docMk/>
            <pc:sldMk cId="3330499832" sldId="1016"/>
            <ac:picMk id="5" creationId="{220A76A5-CA12-406E-B89C-B68FCF6B3044}"/>
          </ac:picMkLst>
        </pc:picChg>
        <pc:picChg chg="add del mod">
          <ac:chgData name="Per Hovde" userId="336a567d-735c-4805-ba8e-b6f07afebca7" providerId="ADAL" clId="{34EF69C2-02DC-4380-83E0-FAEF73C5D6BC}" dt="2021-11-12T09:25:56.686" v="257" actId="478"/>
          <ac:picMkLst>
            <pc:docMk/>
            <pc:sldMk cId="3330499832" sldId="1016"/>
            <ac:picMk id="6" creationId="{78022A71-F3D6-4A48-AA99-D094D5B5324D}"/>
          </ac:picMkLst>
        </pc:picChg>
      </pc:sldChg>
      <pc:sldChg chg="delSp modSp mod modShow">
        <pc:chgData name="Per Hovde" userId="336a567d-735c-4805-ba8e-b6f07afebca7" providerId="ADAL" clId="{34EF69C2-02DC-4380-83E0-FAEF73C5D6BC}" dt="2021-11-12T10:20:54.198" v="1044" actId="729"/>
        <pc:sldMkLst>
          <pc:docMk/>
          <pc:sldMk cId="1069944342" sldId="1017"/>
        </pc:sldMkLst>
        <pc:spChg chg="mod">
          <ac:chgData name="Per Hovde" userId="336a567d-735c-4805-ba8e-b6f07afebca7" providerId="ADAL" clId="{34EF69C2-02DC-4380-83E0-FAEF73C5D6BC}" dt="2021-11-12T10:20:04.205" v="1019" actId="20577"/>
          <ac:spMkLst>
            <pc:docMk/>
            <pc:sldMk cId="1069944342" sldId="1017"/>
            <ac:spMk id="9" creationId="{242A1774-635E-42DD-86D0-E2D5FA5D6288}"/>
          </ac:spMkLst>
        </pc:spChg>
        <pc:graphicFrameChg chg="mod">
          <ac:chgData name="Per Hovde" userId="336a567d-735c-4805-ba8e-b6f07afebca7" providerId="ADAL" clId="{34EF69C2-02DC-4380-83E0-FAEF73C5D6BC}" dt="2021-11-12T10:20:38.793" v="1043" actId="1036"/>
          <ac:graphicFrameMkLst>
            <pc:docMk/>
            <pc:sldMk cId="1069944342" sldId="1017"/>
            <ac:graphicFrameMk id="6" creationId="{60D6109E-2EB7-40A9-8511-36A30334F123}"/>
          </ac:graphicFrameMkLst>
        </pc:graphicFrameChg>
        <pc:graphicFrameChg chg="del modGraphic">
          <ac:chgData name="Per Hovde" userId="336a567d-735c-4805-ba8e-b6f07afebca7" providerId="ADAL" clId="{34EF69C2-02DC-4380-83E0-FAEF73C5D6BC}" dt="2021-11-12T10:20:27.328" v="1021" actId="478"/>
          <ac:graphicFrameMkLst>
            <pc:docMk/>
            <pc:sldMk cId="1069944342" sldId="1017"/>
            <ac:graphicFrameMk id="7" creationId="{39E995B3-643A-45A4-8625-BB8AE8672BDF}"/>
          </ac:graphicFrameMkLst>
        </pc:graphicFrameChg>
      </pc:sldChg>
      <pc:sldChg chg="mod modShow">
        <pc:chgData name="Per Hovde" userId="336a567d-735c-4805-ba8e-b6f07afebca7" providerId="ADAL" clId="{34EF69C2-02DC-4380-83E0-FAEF73C5D6BC}" dt="2021-11-12T09:56:54.684" v="946" actId="729"/>
        <pc:sldMkLst>
          <pc:docMk/>
          <pc:sldMk cId="1092783891" sldId="1018"/>
        </pc:sldMkLst>
      </pc:sldChg>
      <pc:sldChg chg="mod modShow">
        <pc:chgData name="Per Hovde" userId="336a567d-735c-4805-ba8e-b6f07afebca7" providerId="ADAL" clId="{34EF69C2-02DC-4380-83E0-FAEF73C5D6BC}" dt="2021-11-12T09:57:00.759" v="948" actId="729"/>
        <pc:sldMkLst>
          <pc:docMk/>
          <pc:sldMk cId="250437930" sldId="1019"/>
        </pc:sldMkLst>
      </pc:sldChg>
      <pc:sldChg chg="mod modShow">
        <pc:chgData name="Per Hovde" userId="336a567d-735c-4805-ba8e-b6f07afebca7" providerId="ADAL" clId="{34EF69C2-02DC-4380-83E0-FAEF73C5D6BC}" dt="2021-11-12T09:56:56.684" v="947" actId="729"/>
        <pc:sldMkLst>
          <pc:docMk/>
          <pc:sldMk cId="873312174" sldId="1020"/>
        </pc:sldMkLst>
      </pc:sldChg>
      <pc:sldChg chg="del">
        <pc:chgData name="Per Hovde" userId="336a567d-735c-4805-ba8e-b6f07afebca7" providerId="ADAL" clId="{34EF69C2-02DC-4380-83E0-FAEF73C5D6BC}" dt="2021-11-12T09:16:38.229" v="8" actId="47"/>
        <pc:sldMkLst>
          <pc:docMk/>
          <pc:sldMk cId="363890115" sldId="5346"/>
        </pc:sldMkLst>
      </pc:sldChg>
      <pc:sldChg chg="del">
        <pc:chgData name="Per Hovde" userId="336a567d-735c-4805-ba8e-b6f07afebca7" providerId="ADAL" clId="{34EF69C2-02DC-4380-83E0-FAEF73C5D6BC}" dt="2021-11-12T09:16:29.607" v="2" actId="47"/>
        <pc:sldMkLst>
          <pc:docMk/>
          <pc:sldMk cId="3746916553" sldId="5414"/>
        </pc:sldMkLst>
      </pc:sldChg>
      <pc:sldChg chg="del">
        <pc:chgData name="Per Hovde" userId="336a567d-735c-4805-ba8e-b6f07afebca7" providerId="ADAL" clId="{34EF69C2-02DC-4380-83E0-FAEF73C5D6BC}" dt="2021-11-12T09:16:27.820" v="0" actId="47"/>
        <pc:sldMkLst>
          <pc:docMk/>
          <pc:sldMk cId="2431464779" sldId="5415"/>
        </pc:sldMkLst>
      </pc:sldChg>
      <pc:sldChg chg="del">
        <pc:chgData name="Per Hovde" userId="336a567d-735c-4805-ba8e-b6f07afebca7" providerId="ADAL" clId="{34EF69C2-02DC-4380-83E0-FAEF73C5D6BC}" dt="2021-11-12T09:16:28.544" v="1" actId="47"/>
        <pc:sldMkLst>
          <pc:docMk/>
          <pc:sldMk cId="3559185669" sldId="5416"/>
        </pc:sldMkLst>
      </pc:sldChg>
      <pc:sldChg chg="del">
        <pc:chgData name="Per Hovde" userId="336a567d-735c-4805-ba8e-b6f07afebca7" providerId="ADAL" clId="{34EF69C2-02DC-4380-83E0-FAEF73C5D6BC}" dt="2021-11-12T09:16:35.218" v="4" actId="47"/>
        <pc:sldMkLst>
          <pc:docMk/>
          <pc:sldMk cId="1965046206" sldId="5418"/>
        </pc:sldMkLst>
      </pc:sldChg>
      <pc:sldChg chg="add del mod modShow">
        <pc:chgData name="Per Hovde" userId="336a567d-735c-4805-ba8e-b6f07afebca7" providerId="ADAL" clId="{34EF69C2-02DC-4380-83E0-FAEF73C5D6BC}" dt="2021-11-12T09:16:51.358" v="11" actId="729"/>
        <pc:sldMkLst>
          <pc:docMk/>
          <pc:sldMk cId="3698189775" sldId="5419"/>
        </pc:sldMkLst>
      </pc:sldChg>
      <pc:sldChg chg="mod modShow">
        <pc:chgData name="Per Hovde" userId="336a567d-735c-4805-ba8e-b6f07afebca7" providerId="ADAL" clId="{34EF69C2-02DC-4380-83E0-FAEF73C5D6BC}" dt="2021-11-12T09:19:55.416" v="129" actId="729"/>
        <pc:sldMkLst>
          <pc:docMk/>
          <pc:sldMk cId="2850570824" sldId="5423"/>
        </pc:sldMkLst>
      </pc:sldChg>
      <pc:sldChg chg="modSp mod">
        <pc:chgData name="Per Hovde" userId="336a567d-735c-4805-ba8e-b6f07afebca7" providerId="ADAL" clId="{34EF69C2-02DC-4380-83E0-FAEF73C5D6BC}" dt="2021-11-12T10:57:40.138" v="1045" actId="20577"/>
        <pc:sldMkLst>
          <pc:docMk/>
          <pc:sldMk cId="746857244" sldId="5424"/>
        </pc:sldMkLst>
        <pc:spChg chg="mod">
          <ac:chgData name="Per Hovde" userId="336a567d-735c-4805-ba8e-b6f07afebca7" providerId="ADAL" clId="{34EF69C2-02DC-4380-83E0-FAEF73C5D6BC}" dt="2021-11-12T10:57:40.138" v="1045" actId="20577"/>
          <ac:spMkLst>
            <pc:docMk/>
            <pc:sldMk cId="746857244" sldId="5424"/>
            <ac:spMk id="5" creationId="{9BAB3232-3BB5-423E-BBC5-66A2AC65BC3A}"/>
          </ac:spMkLst>
        </pc:spChg>
      </pc:sldChg>
      <pc:sldChg chg="mod modShow">
        <pc:chgData name="Per Hovde" userId="336a567d-735c-4805-ba8e-b6f07afebca7" providerId="ADAL" clId="{34EF69C2-02DC-4380-83E0-FAEF73C5D6BC}" dt="2021-11-12T09:16:54.291" v="12" actId="729"/>
        <pc:sldMkLst>
          <pc:docMk/>
          <pc:sldMk cId="3213898315" sldId="5428"/>
        </pc:sldMkLst>
      </pc:sldChg>
      <pc:sldChg chg="modSp mod">
        <pc:chgData name="Per Hovde" userId="336a567d-735c-4805-ba8e-b6f07afebca7" providerId="ADAL" clId="{34EF69C2-02DC-4380-83E0-FAEF73C5D6BC}" dt="2021-11-12T09:18:54.595" v="127" actId="20577"/>
        <pc:sldMkLst>
          <pc:docMk/>
          <pc:sldMk cId="1549481609" sldId="5429"/>
        </pc:sldMkLst>
        <pc:spChg chg="mod">
          <ac:chgData name="Per Hovde" userId="336a567d-735c-4805-ba8e-b6f07afebca7" providerId="ADAL" clId="{34EF69C2-02DC-4380-83E0-FAEF73C5D6BC}" dt="2021-11-12T09:18:54.595" v="127" actId="20577"/>
          <ac:spMkLst>
            <pc:docMk/>
            <pc:sldMk cId="1549481609" sldId="5429"/>
            <ac:spMk id="17" creationId="{FFA01300-FFFB-4E2F-8399-7ACF2234CCFA}"/>
          </ac:spMkLst>
        </pc:spChg>
      </pc:sldChg>
      <pc:sldChg chg="mod modShow">
        <pc:chgData name="Per Hovde" userId="336a567d-735c-4805-ba8e-b6f07afebca7" providerId="ADAL" clId="{34EF69C2-02DC-4380-83E0-FAEF73C5D6BC}" dt="2021-11-12T09:19:14.595" v="128" actId="729"/>
        <pc:sldMkLst>
          <pc:docMk/>
          <pc:sldMk cId="2068111393" sldId="5430"/>
        </pc:sldMkLst>
      </pc:sldChg>
      <pc:sldChg chg="mod modShow">
        <pc:chgData name="Per Hovde" userId="336a567d-735c-4805-ba8e-b6f07afebca7" providerId="ADAL" clId="{34EF69C2-02DC-4380-83E0-FAEF73C5D6BC}" dt="2021-11-12T09:17:22.612" v="18" actId="729"/>
        <pc:sldMkLst>
          <pc:docMk/>
          <pc:sldMk cId="639612405" sldId="5431"/>
        </pc:sldMkLst>
      </pc:sldChg>
      <pc:sldChg chg="modSp mod modShow">
        <pc:chgData name="Per Hovde" userId="336a567d-735c-4805-ba8e-b6f07afebca7" providerId="ADAL" clId="{34EF69C2-02DC-4380-83E0-FAEF73C5D6BC}" dt="2021-11-12T09:18:21.643" v="89" actId="20577"/>
        <pc:sldMkLst>
          <pc:docMk/>
          <pc:sldMk cId="3851326224" sldId="5432"/>
        </pc:sldMkLst>
        <pc:spChg chg="mod">
          <ac:chgData name="Per Hovde" userId="336a567d-735c-4805-ba8e-b6f07afebca7" providerId="ADAL" clId="{34EF69C2-02DC-4380-83E0-FAEF73C5D6BC}" dt="2021-11-12T09:18:21.643" v="89" actId="20577"/>
          <ac:spMkLst>
            <pc:docMk/>
            <pc:sldMk cId="3851326224" sldId="5432"/>
            <ac:spMk id="17" creationId="{FFA01300-FFFB-4E2F-8399-7ACF2234CCFA}"/>
          </ac:spMkLst>
        </pc:spChg>
        <pc:spChg chg="mod">
          <ac:chgData name="Per Hovde" userId="336a567d-735c-4805-ba8e-b6f07afebca7" providerId="ADAL" clId="{34EF69C2-02DC-4380-83E0-FAEF73C5D6BC}" dt="2021-11-12T09:18:19.793" v="86" actId="1076"/>
          <ac:spMkLst>
            <pc:docMk/>
            <pc:sldMk cId="3851326224" sldId="5432"/>
            <ac:spMk id="20" creationId="{EC9F3F78-7CF3-427E-BCE7-20EFB799A7BF}"/>
          </ac:spMkLst>
        </pc:spChg>
      </pc:sldChg>
      <pc:sldChg chg="mod modShow">
        <pc:chgData name="Per Hovde" userId="336a567d-735c-4805-ba8e-b6f07afebca7" providerId="ADAL" clId="{34EF69C2-02DC-4380-83E0-FAEF73C5D6BC}" dt="2021-11-12T09:17:16.986" v="16" actId="729"/>
        <pc:sldMkLst>
          <pc:docMk/>
          <pc:sldMk cId="1948874999" sldId="5433"/>
        </pc:sldMkLst>
      </pc:sldChg>
      <pc:sldChg chg="mod modShow">
        <pc:chgData name="Per Hovde" userId="336a567d-735c-4805-ba8e-b6f07afebca7" providerId="ADAL" clId="{34EF69C2-02DC-4380-83E0-FAEF73C5D6BC}" dt="2021-11-12T09:17:14.516" v="15" actId="729"/>
        <pc:sldMkLst>
          <pc:docMk/>
          <pc:sldMk cId="886631530" sldId="5434"/>
        </pc:sldMkLst>
      </pc:sldChg>
      <pc:sldChg chg="mod modShow">
        <pc:chgData name="Per Hovde" userId="336a567d-735c-4805-ba8e-b6f07afebca7" providerId="ADAL" clId="{34EF69C2-02DC-4380-83E0-FAEF73C5D6BC}" dt="2021-11-12T09:17:11.304" v="14" actId="729"/>
        <pc:sldMkLst>
          <pc:docMk/>
          <pc:sldMk cId="626041705" sldId="5435"/>
        </pc:sldMkLst>
      </pc:sldChg>
      <pc:sldChg chg="addSp delSp modSp del mod">
        <pc:chgData name="Per Hovde" userId="336a567d-735c-4805-ba8e-b6f07afebca7" providerId="ADAL" clId="{34EF69C2-02DC-4380-83E0-FAEF73C5D6BC}" dt="2021-11-12T09:45:15.115" v="797" actId="47"/>
        <pc:sldMkLst>
          <pc:docMk/>
          <pc:sldMk cId="3360891429" sldId="5436"/>
        </pc:sldMkLst>
        <pc:spChg chg="add del mod">
          <ac:chgData name="Per Hovde" userId="336a567d-735c-4805-ba8e-b6f07afebca7" providerId="ADAL" clId="{34EF69C2-02DC-4380-83E0-FAEF73C5D6BC}" dt="2021-11-12T09:32:22.519" v="551" actId="478"/>
          <ac:spMkLst>
            <pc:docMk/>
            <pc:sldMk cId="3360891429" sldId="5436"/>
            <ac:spMk id="3" creationId="{7B033A12-E22E-4279-A5FE-AB1404632769}"/>
          </ac:spMkLst>
        </pc:spChg>
        <pc:spChg chg="add mod">
          <ac:chgData name="Per Hovde" userId="336a567d-735c-4805-ba8e-b6f07afebca7" providerId="ADAL" clId="{34EF69C2-02DC-4380-83E0-FAEF73C5D6BC}" dt="2021-11-12T09:33:24.745" v="576" actId="1035"/>
          <ac:spMkLst>
            <pc:docMk/>
            <pc:sldMk cId="3360891429" sldId="5436"/>
            <ac:spMk id="4" creationId="{1203B53D-D44C-4BC0-8065-DA8F91225440}"/>
          </ac:spMkLst>
        </pc:spChg>
        <pc:spChg chg="mod">
          <ac:chgData name="Per Hovde" userId="336a567d-735c-4805-ba8e-b6f07afebca7" providerId="ADAL" clId="{34EF69C2-02DC-4380-83E0-FAEF73C5D6BC}" dt="2021-11-12T09:39:37.532" v="761" actId="1076"/>
          <ac:spMkLst>
            <pc:docMk/>
            <pc:sldMk cId="3360891429" sldId="5436"/>
            <ac:spMk id="5" creationId="{989CAE94-4B42-4E8D-913B-CF588B97C515}"/>
          </ac:spMkLst>
        </pc:spChg>
        <pc:spChg chg="mod">
          <ac:chgData name="Per Hovde" userId="336a567d-735c-4805-ba8e-b6f07afebca7" providerId="ADAL" clId="{34EF69C2-02DC-4380-83E0-FAEF73C5D6BC}" dt="2021-11-12T09:36:53.181" v="709" actId="1076"/>
          <ac:spMkLst>
            <pc:docMk/>
            <pc:sldMk cId="3360891429" sldId="5436"/>
            <ac:spMk id="6" creationId="{5937AAA9-F623-4247-98B5-B2B59F2B9185}"/>
          </ac:spMkLst>
        </pc:spChg>
        <pc:spChg chg="mod">
          <ac:chgData name="Per Hovde" userId="336a567d-735c-4805-ba8e-b6f07afebca7" providerId="ADAL" clId="{34EF69C2-02DC-4380-83E0-FAEF73C5D6BC}" dt="2021-11-12T09:39:23.753" v="760" actId="20577"/>
          <ac:spMkLst>
            <pc:docMk/>
            <pc:sldMk cId="3360891429" sldId="5436"/>
            <ac:spMk id="17" creationId="{FFA01300-FFFB-4E2F-8399-7ACF2234CCFA}"/>
          </ac:spMkLst>
        </pc:spChg>
        <pc:spChg chg="mod">
          <ac:chgData name="Per Hovde" userId="336a567d-735c-4805-ba8e-b6f07afebca7" providerId="ADAL" clId="{34EF69C2-02DC-4380-83E0-FAEF73C5D6BC}" dt="2021-11-12T09:41:10.189" v="778" actId="20577"/>
          <ac:spMkLst>
            <pc:docMk/>
            <pc:sldMk cId="3360891429" sldId="5436"/>
            <ac:spMk id="27" creationId="{6EE87171-2EAD-4059-A9E7-80E310A6E046}"/>
          </ac:spMkLst>
        </pc:spChg>
        <pc:spChg chg="mod">
          <ac:chgData name="Per Hovde" userId="336a567d-735c-4805-ba8e-b6f07afebca7" providerId="ADAL" clId="{34EF69C2-02DC-4380-83E0-FAEF73C5D6BC}" dt="2021-11-12T09:43:12.879" v="786" actId="1076"/>
          <ac:spMkLst>
            <pc:docMk/>
            <pc:sldMk cId="3360891429" sldId="5436"/>
            <ac:spMk id="31" creationId="{DFCE0214-62FD-4946-8FF5-8F238B9E02C1}"/>
          </ac:spMkLst>
        </pc:spChg>
        <pc:spChg chg="add mod">
          <ac:chgData name="Per Hovde" userId="336a567d-735c-4805-ba8e-b6f07afebca7" providerId="ADAL" clId="{34EF69C2-02DC-4380-83E0-FAEF73C5D6BC}" dt="2021-11-12T09:34:41.263" v="649" actId="207"/>
          <ac:spMkLst>
            <pc:docMk/>
            <pc:sldMk cId="3360891429" sldId="5436"/>
            <ac:spMk id="32" creationId="{04716E83-E8F7-402B-B956-8441EAEA0038}"/>
          </ac:spMkLst>
        </pc:spChg>
        <pc:spChg chg="add mod">
          <ac:chgData name="Per Hovde" userId="336a567d-735c-4805-ba8e-b6f07afebca7" providerId="ADAL" clId="{34EF69C2-02DC-4380-83E0-FAEF73C5D6BC}" dt="2021-11-12T09:35:07.854" v="662" actId="14100"/>
          <ac:spMkLst>
            <pc:docMk/>
            <pc:sldMk cId="3360891429" sldId="5436"/>
            <ac:spMk id="33" creationId="{2F6F20EE-10CC-48EF-89E1-9D7A2A9BF4AA}"/>
          </ac:spMkLst>
        </pc:spChg>
        <pc:spChg chg="add mod">
          <ac:chgData name="Per Hovde" userId="336a567d-735c-4805-ba8e-b6f07afebca7" providerId="ADAL" clId="{34EF69C2-02DC-4380-83E0-FAEF73C5D6BC}" dt="2021-11-12T09:35:27.517" v="676" actId="1037"/>
          <ac:spMkLst>
            <pc:docMk/>
            <pc:sldMk cId="3360891429" sldId="5436"/>
            <ac:spMk id="35" creationId="{62640C84-91C5-4D97-A019-7425EB040F7A}"/>
          </ac:spMkLst>
        </pc:spChg>
        <pc:spChg chg="add mod">
          <ac:chgData name="Per Hovde" userId="336a567d-735c-4805-ba8e-b6f07afebca7" providerId="ADAL" clId="{34EF69C2-02DC-4380-83E0-FAEF73C5D6BC}" dt="2021-11-12T09:38:08.514" v="740" actId="14100"/>
          <ac:spMkLst>
            <pc:docMk/>
            <pc:sldMk cId="3360891429" sldId="5436"/>
            <ac:spMk id="37" creationId="{6572E93E-B5D1-4993-B23F-AED7FB032CF5}"/>
          </ac:spMkLst>
        </pc:spChg>
        <pc:spChg chg="add mod">
          <ac:chgData name="Per Hovde" userId="336a567d-735c-4805-ba8e-b6f07afebca7" providerId="ADAL" clId="{34EF69C2-02DC-4380-83E0-FAEF73C5D6BC}" dt="2021-11-12T09:38:08.928" v="741" actId="1038"/>
          <ac:spMkLst>
            <pc:docMk/>
            <pc:sldMk cId="3360891429" sldId="5436"/>
            <ac:spMk id="41" creationId="{1421C284-69CD-46E2-96EA-AB4E23271F5A}"/>
          </ac:spMkLst>
        </pc:spChg>
        <pc:spChg chg="add mod">
          <ac:chgData name="Per Hovde" userId="336a567d-735c-4805-ba8e-b6f07afebca7" providerId="ADAL" clId="{34EF69C2-02DC-4380-83E0-FAEF73C5D6BC}" dt="2021-11-12T09:38:06.480" v="736" actId="1036"/>
          <ac:spMkLst>
            <pc:docMk/>
            <pc:sldMk cId="3360891429" sldId="5436"/>
            <ac:spMk id="42" creationId="{36FB71AA-DBA2-4A52-9E00-879D0C2FF8D8}"/>
          </ac:spMkLst>
        </pc:spChg>
        <pc:spChg chg="add mod">
          <ac:chgData name="Per Hovde" userId="336a567d-735c-4805-ba8e-b6f07afebca7" providerId="ADAL" clId="{34EF69C2-02DC-4380-83E0-FAEF73C5D6BC}" dt="2021-11-12T09:41:40.809" v="781" actId="14100"/>
          <ac:spMkLst>
            <pc:docMk/>
            <pc:sldMk cId="3360891429" sldId="5436"/>
            <ac:spMk id="43" creationId="{5F36488F-6F7D-4113-9AFC-CC07A5D5F26D}"/>
          </ac:spMkLst>
        </pc:spChg>
        <pc:spChg chg="add mod">
          <ac:chgData name="Per Hovde" userId="336a567d-735c-4805-ba8e-b6f07afebca7" providerId="ADAL" clId="{34EF69C2-02DC-4380-83E0-FAEF73C5D6BC}" dt="2021-11-12T09:41:26.453" v="780" actId="1037"/>
          <ac:spMkLst>
            <pc:docMk/>
            <pc:sldMk cId="3360891429" sldId="5436"/>
            <ac:spMk id="44" creationId="{D9037B95-29DF-4C44-A135-E65F6DEA58B0}"/>
          </ac:spMkLst>
        </pc:spChg>
        <pc:picChg chg="mod">
          <ac:chgData name="Per Hovde" userId="336a567d-735c-4805-ba8e-b6f07afebca7" providerId="ADAL" clId="{34EF69C2-02DC-4380-83E0-FAEF73C5D6BC}" dt="2021-11-12T09:38:06.056" v="735" actId="14100"/>
          <ac:picMkLst>
            <pc:docMk/>
            <pc:sldMk cId="3360891429" sldId="5436"/>
            <ac:picMk id="16" creationId="{A081E4F1-AAC2-4308-AEE7-B51FF06E05BD}"/>
          </ac:picMkLst>
        </pc:picChg>
        <pc:cxnChg chg="mod">
          <ac:chgData name="Per Hovde" userId="336a567d-735c-4805-ba8e-b6f07afebca7" providerId="ADAL" clId="{34EF69C2-02DC-4380-83E0-FAEF73C5D6BC}" dt="2021-11-12T09:39:37.532" v="761" actId="1076"/>
          <ac:cxnSpMkLst>
            <pc:docMk/>
            <pc:sldMk cId="3360891429" sldId="5436"/>
            <ac:cxnSpMk id="24" creationId="{0E39D62F-0448-4301-8C30-D86D057C75C5}"/>
          </ac:cxnSpMkLst>
        </pc:cxnChg>
        <pc:cxnChg chg="mod">
          <ac:chgData name="Per Hovde" userId="336a567d-735c-4805-ba8e-b6f07afebca7" providerId="ADAL" clId="{34EF69C2-02DC-4380-83E0-FAEF73C5D6BC}" dt="2021-11-12T09:36:53.181" v="709" actId="1076"/>
          <ac:cxnSpMkLst>
            <pc:docMk/>
            <pc:sldMk cId="3360891429" sldId="5436"/>
            <ac:cxnSpMk id="25" creationId="{78ABA829-A0E0-44FB-BA9C-7001803FF392}"/>
          </ac:cxnSpMkLst>
        </pc:cxnChg>
        <pc:cxnChg chg="mod">
          <ac:chgData name="Per Hovde" userId="336a567d-735c-4805-ba8e-b6f07afebca7" providerId="ADAL" clId="{34EF69C2-02DC-4380-83E0-FAEF73C5D6BC}" dt="2021-11-12T09:39:37.532" v="761" actId="1076"/>
          <ac:cxnSpMkLst>
            <pc:docMk/>
            <pc:sldMk cId="3360891429" sldId="5436"/>
            <ac:cxnSpMk id="26" creationId="{254C73F0-E75C-4819-969F-C6E1A0D3B52A}"/>
          </ac:cxnSpMkLst>
        </pc:cxnChg>
        <pc:cxnChg chg="mod">
          <ac:chgData name="Per Hovde" userId="336a567d-735c-4805-ba8e-b6f07afebca7" providerId="ADAL" clId="{34EF69C2-02DC-4380-83E0-FAEF73C5D6BC}" dt="2021-11-12T09:39:37.532" v="761" actId="1076"/>
          <ac:cxnSpMkLst>
            <pc:docMk/>
            <pc:sldMk cId="3360891429" sldId="5436"/>
            <ac:cxnSpMk id="29" creationId="{CB530F22-F9BB-44D2-B46E-731E9F27ABDF}"/>
          </ac:cxnSpMkLst>
        </pc:cxnChg>
        <pc:cxnChg chg="mod">
          <ac:chgData name="Per Hovde" userId="336a567d-735c-4805-ba8e-b6f07afebca7" providerId="ADAL" clId="{34EF69C2-02DC-4380-83E0-FAEF73C5D6BC}" dt="2021-11-12T09:36:53.181" v="709" actId="1076"/>
          <ac:cxnSpMkLst>
            <pc:docMk/>
            <pc:sldMk cId="3360891429" sldId="5436"/>
            <ac:cxnSpMk id="30" creationId="{46792841-6069-4D6C-A8AA-A8AB98D7F783}"/>
          </ac:cxnSpMkLst>
        </pc:cxnChg>
      </pc:sldChg>
      <pc:sldChg chg="mod modShow">
        <pc:chgData name="Per Hovde" userId="336a567d-735c-4805-ba8e-b6f07afebca7" providerId="ADAL" clId="{34EF69C2-02DC-4380-83E0-FAEF73C5D6BC}" dt="2021-11-12T09:16:57.188" v="13" actId="729"/>
        <pc:sldMkLst>
          <pc:docMk/>
          <pc:sldMk cId="1187582072" sldId="5437"/>
        </pc:sldMkLst>
      </pc:sldChg>
      <pc:sldChg chg="addSp delSp modSp add mod ord">
        <pc:chgData name="Per Hovde" userId="336a567d-735c-4805-ba8e-b6f07afebca7" providerId="ADAL" clId="{34EF69C2-02DC-4380-83E0-FAEF73C5D6BC}" dt="2021-11-12T10:17:49.248" v="961" actId="14100"/>
        <pc:sldMkLst>
          <pc:docMk/>
          <pc:sldMk cId="1090633618" sldId="5438"/>
        </pc:sldMkLst>
        <pc:spChg chg="add mod">
          <ac:chgData name="Per Hovde" userId="336a567d-735c-4805-ba8e-b6f07afebca7" providerId="ADAL" clId="{34EF69C2-02DC-4380-83E0-FAEF73C5D6BC}" dt="2021-11-12T09:53:11.857" v="891" actId="20577"/>
          <ac:spMkLst>
            <pc:docMk/>
            <pc:sldMk cId="1090633618" sldId="5438"/>
            <ac:spMk id="3" creationId="{A857438A-A3A7-46EE-8583-A0EAEAF9356D}"/>
          </ac:spMkLst>
        </pc:spChg>
        <pc:spChg chg="mod">
          <ac:chgData name="Per Hovde" userId="336a567d-735c-4805-ba8e-b6f07afebca7" providerId="ADAL" clId="{34EF69C2-02DC-4380-83E0-FAEF73C5D6BC}" dt="2021-11-12T09:45:02.314" v="796" actId="20577"/>
          <ac:spMkLst>
            <pc:docMk/>
            <pc:sldMk cId="1090633618" sldId="5438"/>
            <ac:spMk id="17" creationId="{FFA01300-FFFB-4E2F-8399-7ACF2234CCFA}"/>
          </ac:spMkLst>
        </pc:spChg>
        <pc:spChg chg="mod">
          <ac:chgData name="Per Hovde" userId="336a567d-735c-4805-ba8e-b6f07afebca7" providerId="ADAL" clId="{34EF69C2-02DC-4380-83E0-FAEF73C5D6BC}" dt="2021-11-12T09:50:13.143" v="834" actId="1076"/>
          <ac:spMkLst>
            <pc:docMk/>
            <pc:sldMk cId="1090633618" sldId="5438"/>
            <ac:spMk id="31" creationId="{DFCE0214-62FD-4946-8FF5-8F238B9E02C1}"/>
          </ac:spMkLst>
        </pc:spChg>
        <pc:spChg chg="add mod">
          <ac:chgData name="Per Hovde" userId="336a567d-735c-4805-ba8e-b6f07afebca7" providerId="ADAL" clId="{34EF69C2-02DC-4380-83E0-FAEF73C5D6BC}" dt="2021-11-12T10:17:49.248" v="961" actId="14100"/>
          <ac:spMkLst>
            <pc:docMk/>
            <pc:sldMk cId="1090633618" sldId="5438"/>
            <ac:spMk id="33" creationId="{D360C393-6C29-4610-9958-96B3578C619D}"/>
          </ac:spMkLst>
        </pc:spChg>
        <pc:spChg chg="add mod">
          <ac:chgData name="Per Hovde" userId="336a567d-735c-4805-ba8e-b6f07afebca7" providerId="ADAL" clId="{34EF69C2-02DC-4380-83E0-FAEF73C5D6BC}" dt="2021-11-12T09:48:51.234" v="825" actId="208"/>
          <ac:spMkLst>
            <pc:docMk/>
            <pc:sldMk cId="1090633618" sldId="5438"/>
            <ac:spMk id="35" creationId="{C41D8755-DB7B-4B1B-9A54-D8B21A451312}"/>
          </ac:spMkLst>
        </pc:spChg>
        <pc:spChg chg="add mod">
          <ac:chgData name="Per Hovde" userId="336a567d-735c-4805-ba8e-b6f07afebca7" providerId="ADAL" clId="{34EF69C2-02DC-4380-83E0-FAEF73C5D6BC}" dt="2021-11-12T09:48:51.234" v="825" actId="208"/>
          <ac:spMkLst>
            <pc:docMk/>
            <pc:sldMk cId="1090633618" sldId="5438"/>
            <ac:spMk id="37" creationId="{4A6421F2-0FEA-41DD-9131-771D31DEC1DF}"/>
          </ac:spMkLst>
        </pc:spChg>
        <pc:spChg chg="add mod">
          <ac:chgData name="Per Hovde" userId="336a567d-735c-4805-ba8e-b6f07afebca7" providerId="ADAL" clId="{34EF69C2-02DC-4380-83E0-FAEF73C5D6BC}" dt="2021-11-12T09:49:32.592" v="827" actId="692"/>
          <ac:spMkLst>
            <pc:docMk/>
            <pc:sldMk cId="1090633618" sldId="5438"/>
            <ac:spMk id="41" creationId="{CC995502-C030-43D4-99BC-38E3B3F4DB77}"/>
          </ac:spMkLst>
        </pc:spChg>
        <pc:spChg chg="add mod">
          <ac:chgData name="Per Hovde" userId="336a567d-735c-4805-ba8e-b6f07afebca7" providerId="ADAL" clId="{34EF69C2-02DC-4380-83E0-FAEF73C5D6BC}" dt="2021-11-12T09:45:39.412" v="798" actId="692"/>
          <ac:spMkLst>
            <pc:docMk/>
            <pc:sldMk cId="1090633618" sldId="5438"/>
            <ac:spMk id="42" creationId="{E5BF454E-E640-4CCE-96A4-868308982ACB}"/>
          </ac:spMkLst>
        </pc:spChg>
        <pc:spChg chg="add mod">
          <ac:chgData name="Per Hovde" userId="336a567d-735c-4805-ba8e-b6f07afebca7" providerId="ADAL" clId="{34EF69C2-02DC-4380-83E0-FAEF73C5D6BC}" dt="2021-11-12T10:16:58.936" v="953" actId="14100"/>
          <ac:spMkLst>
            <pc:docMk/>
            <pc:sldMk cId="1090633618" sldId="5438"/>
            <ac:spMk id="43" creationId="{1CC5AC14-7D06-4B6E-88C7-DCDE91228106}"/>
          </ac:spMkLst>
        </pc:spChg>
        <pc:spChg chg="add mod">
          <ac:chgData name="Per Hovde" userId="336a567d-735c-4805-ba8e-b6f07afebca7" providerId="ADAL" clId="{34EF69C2-02DC-4380-83E0-FAEF73C5D6BC}" dt="2021-11-12T09:46:04.633" v="801" actId="692"/>
          <ac:spMkLst>
            <pc:docMk/>
            <pc:sldMk cId="1090633618" sldId="5438"/>
            <ac:spMk id="44" creationId="{B0A4053B-134C-4E50-A7B3-057D5490482D}"/>
          </ac:spMkLst>
        </pc:spChg>
        <pc:spChg chg="add mod">
          <ac:chgData name="Per Hovde" userId="336a567d-735c-4805-ba8e-b6f07afebca7" providerId="ADAL" clId="{34EF69C2-02DC-4380-83E0-FAEF73C5D6BC}" dt="2021-11-12T09:46:27.916" v="803" actId="692"/>
          <ac:spMkLst>
            <pc:docMk/>
            <pc:sldMk cId="1090633618" sldId="5438"/>
            <ac:spMk id="45" creationId="{1D40CBCE-2719-4FC4-849D-3522409050F5}"/>
          </ac:spMkLst>
        </pc:spChg>
        <pc:spChg chg="add mod">
          <ac:chgData name="Per Hovde" userId="336a567d-735c-4805-ba8e-b6f07afebca7" providerId="ADAL" clId="{34EF69C2-02DC-4380-83E0-FAEF73C5D6BC}" dt="2021-11-12T09:46:21.003" v="802" actId="692"/>
          <ac:spMkLst>
            <pc:docMk/>
            <pc:sldMk cId="1090633618" sldId="5438"/>
            <ac:spMk id="46" creationId="{24611316-7495-4B44-989A-BB2D7022311B}"/>
          </ac:spMkLst>
        </pc:spChg>
        <pc:spChg chg="add mod">
          <ac:chgData name="Per Hovde" userId="336a567d-735c-4805-ba8e-b6f07afebca7" providerId="ADAL" clId="{34EF69C2-02DC-4380-83E0-FAEF73C5D6BC}" dt="2021-11-12T09:51:49.599" v="856" actId="1076"/>
          <ac:spMkLst>
            <pc:docMk/>
            <pc:sldMk cId="1090633618" sldId="5438"/>
            <ac:spMk id="47" creationId="{0E8694BB-CB73-4196-80CF-D161A08CBB3C}"/>
          </ac:spMkLst>
        </pc:spChg>
        <pc:spChg chg="add del mod">
          <ac:chgData name="Per Hovde" userId="336a567d-735c-4805-ba8e-b6f07afebca7" providerId="ADAL" clId="{34EF69C2-02DC-4380-83E0-FAEF73C5D6BC}" dt="2021-11-12T09:49:52.453" v="829"/>
          <ac:spMkLst>
            <pc:docMk/>
            <pc:sldMk cId="1090633618" sldId="5438"/>
            <ac:spMk id="48" creationId="{7F73D6FB-A3AF-496E-8765-600BB1F08EBF}"/>
          </ac:spMkLst>
        </pc:spChg>
        <pc:spChg chg="add mod">
          <ac:chgData name="Per Hovde" userId="336a567d-735c-4805-ba8e-b6f07afebca7" providerId="ADAL" clId="{34EF69C2-02DC-4380-83E0-FAEF73C5D6BC}" dt="2021-11-12T09:52:06.053" v="858" actId="1076"/>
          <ac:spMkLst>
            <pc:docMk/>
            <pc:sldMk cId="1090633618" sldId="5438"/>
            <ac:spMk id="49" creationId="{D5B278DD-CC7E-4956-8F63-ADF4AD2221B9}"/>
          </ac:spMkLst>
        </pc:spChg>
        <pc:spChg chg="add mod">
          <ac:chgData name="Per Hovde" userId="336a567d-735c-4805-ba8e-b6f07afebca7" providerId="ADAL" clId="{34EF69C2-02DC-4380-83E0-FAEF73C5D6BC}" dt="2021-11-12T09:53:19.336" v="893" actId="20577"/>
          <ac:spMkLst>
            <pc:docMk/>
            <pc:sldMk cId="1090633618" sldId="5438"/>
            <ac:spMk id="50" creationId="{E63ED8FB-D3A6-4307-A5A5-29C3DC662C10}"/>
          </ac:spMkLst>
        </pc:spChg>
        <pc:spChg chg="add mod">
          <ac:chgData name="Per Hovde" userId="336a567d-735c-4805-ba8e-b6f07afebca7" providerId="ADAL" clId="{34EF69C2-02DC-4380-83E0-FAEF73C5D6BC}" dt="2021-11-12T10:17:29.160" v="958" actId="14100"/>
          <ac:spMkLst>
            <pc:docMk/>
            <pc:sldMk cId="1090633618" sldId="5438"/>
            <ac:spMk id="51" creationId="{57B8CD91-4872-4D99-A5B3-A97EC56C1062}"/>
          </ac:spMkLst>
        </pc:spChg>
        <pc:picChg chg="mod">
          <ac:chgData name="Per Hovde" userId="336a567d-735c-4805-ba8e-b6f07afebca7" providerId="ADAL" clId="{34EF69C2-02DC-4380-83E0-FAEF73C5D6BC}" dt="2021-11-12T10:17:08.132" v="954" actId="14100"/>
          <ac:picMkLst>
            <pc:docMk/>
            <pc:sldMk cId="1090633618" sldId="5438"/>
            <ac:picMk id="10" creationId="{0033021A-DCC1-483B-92FC-04006E9AB059}"/>
          </ac:picMkLst>
        </pc:picChg>
      </pc:sldChg>
      <pc:sldChg chg="add">
        <pc:chgData name="Per Hovde" userId="336a567d-735c-4805-ba8e-b6f07afebca7" providerId="ADAL" clId="{34EF69C2-02DC-4380-83E0-FAEF73C5D6BC}" dt="2021-11-12T10:19:36.997" v="962" actId="2890"/>
        <pc:sldMkLst>
          <pc:docMk/>
          <pc:sldMk cId="59033855" sldId="5439"/>
        </pc:sldMkLst>
      </pc:sldChg>
    </pc:docChg>
  </pc:docChgLst>
  <pc:docChgLst>
    <pc:chgData name="Per Hovde" userId="S::per.hovde@hkdir.no::336a567d-735c-4805-ba8e-b6f07afebca7" providerId="AD" clId="Web-{8FD7EE0E-557B-4E85-8663-AB8D7C12316B}"/>
    <pc:docChg chg="delSld modSld">
      <pc:chgData name="Per Hovde" userId="S::per.hovde@hkdir.no::336a567d-735c-4805-ba8e-b6f07afebca7" providerId="AD" clId="Web-{8FD7EE0E-557B-4E85-8663-AB8D7C12316B}" dt="2022-01-11T12:24:41.893" v="2"/>
      <pc:docMkLst>
        <pc:docMk/>
      </pc:docMkLst>
      <pc:sldChg chg="mod modShow">
        <pc:chgData name="Per Hovde" userId="S::per.hovde@hkdir.no::336a567d-735c-4805-ba8e-b6f07afebca7" providerId="AD" clId="Web-{8FD7EE0E-557B-4E85-8663-AB8D7C12316B}" dt="2022-01-11T12:24:14.454" v="0"/>
        <pc:sldMkLst>
          <pc:docMk/>
          <pc:sldMk cId="3351134996" sldId="5458"/>
        </pc:sldMkLst>
      </pc:sldChg>
      <pc:sldChg chg="mod modShow">
        <pc:chgData name="Per Hovde" userId="S::per.hovde@hkdir.no::336a567d-735c-4805-ba8e-b6f07afebca7" providerId="AD" clId="Web-{8FD7EE0E-557B-4E85-8663-AB8D7C12316B}" dt="2022-01-11T12:24:17.907" v="1"/>
        <pc:sldMkLst>
          <pc:docMk/>
          <pc:sldMk cId="4140432957" sldId="5459"/>
        </pc:sldMkLst>
      </pc:sldChg>
      <pc:sldChg chg="del">
        <pc:chgData name="Per Hovde" userId="S::per.hovde@hkdir.no::336a567d-735c-4805-ba8e-b6f07afebca7" providerId="AD" clId="Web-{8FD7EE0E-557B-4E85-8663-AB8D7C12316B}" dt="2022-01-11T12:24:41.893" v="2"/>
        <pc:sldMkLst>
          <pc:docMk/>
          <pc:sldMk cId="2533510891" sldId="5460"/>
        </pc:sldMkLst>
      </pc:sldChg>
    </pc:docChg>
  </pc:docChgLst>
  <pc:docChgLst>
    <pc:chgData name="Per Hovde" userId="336a567d-735c-4805-ba8e-b6f07afebca7" providerId="ADAL" clId="{542BB3FC-9192-49E8-A310-2EF4485991FD}"/>
    <pc:docChg chg="undo custSel addSld delSld modSld sldOrd delMainMaster">
      <pc:chgData name="Per Hovde" userId="336a567d-735c-4805-ba8e-b6f07afebca7" providerId="ADAL" clId="{542BB3FC-9192-49E8-A310-2EF4485991FD}" dt="2021-12-21T10:57:21.644" v="1753" actId="404"/>
      <pc:docMkLst>
        <pc:docMk/>
      </pc:docMkLst>
      <pc:sldChg chg="del">
        <pc:chgData name="Per Hovde" userId="336a567d-735c-4805-ba8e-b6f07afebca7" providerId="ADAL" clId="{542BB3FC-9192-49E8-A310-2EF4485991FD}" dt="2021-12-21T08:20:09.103" v="1298" actId="47"/>
        <pc:sldMkLst>
          <pc:docMk/>
          <pc:sldMk cId="2639478547" sldId="257"/>
        </pc:sldMkLst>
      </pc:sldChg>
      <pc:sldChg chg="modSp mod">
        <pc:chgData name="Per Hovde" userId="336a567d-735c-4805-ba8e-b6f07afebca7" providerId="ADAL" clId="{542BB3FC-9192-49E8-A310-2EF4485991FD}" dt="2021-12-21T09:59:05.609" v="1741" actId="20577"/>
        <pc:sldMkLst>
          <pc:docMk/>
          <pc:sldMk cId="1487953720" sldId="1002"/>
        </pc:sldMkLst>
        <pc:spChg chg="mod">
          <ac:chgData name="Per Hovde" userId="336a567d-735c-4805-ba8e-b6f07afebca7" providerId="ADAL" clId="{542BB3FC-9192-49E8-A310-2EF4485991FD}" dt="2021-12-21T09:59:05.609" v="1741" actId="20577"/>
          <ac:spMkLst>
            <pc:docMk/>
            <pc:sldMk cId="1487953720" sldId="1002"/>
            <ac:spMk id="2" creationId="{7C8A331D-91CE-4C5E-AE53-01C12CB5F8B4}"/>
          </ac:spMkLst>
        </pc:spChg>
      </pc:sldChg>
      <pc:sldChg chg="del mod modShow">
        <pc:chgData name="Per Hovde" userId="336a567d-735c-4805-ba8e-b6f07afebca7" providerId="ADAL" clId="{542BB3FC-9192-49E8-A310-2EF4485991FD}" dt="2021-12-21T08:20:11.586" v="1299" actId="47"/>
        <pc:sldMkLst>
          <pc:docMk/>
          <pc:sldMk cId="1729206854" sldId="1013"/>
        </pc:sldMkLst>
      </pc:sldChg>
      <pc:sldChg chg="del mod modShow">
        <pc:chgData name="Per Hovde" userId="336a567d-735c-4805-ba8e-b6f07afebca7" providerId="ADAL" clId="{542BB3FC-9192-49E8-A310-2EF4485991FD}" dt="2021-12-21T07:10:00.840" v="28" actId="47"/>
        <pc:sldMkLst>
          <pc:docMk/>
          <pc:sldMk cId="1889348573" sldId="1014"/>
        </pc:sldMkLst>
      </pc:sldChg>
      <pc:sldChg chg="del">
        <pc:chgData name="Per Hovde" userId="336a567d-735c-4805-ba8e-b6f07afebca7" providerId="ADAL" clId="{542BB3FC-9192-49E8-A310-2EF4485991FD}" dt="2021-12-21T07:08:45.734" v="7" actId="47"/>
        <pc:sldMkLst>
          <pc:docMk/>
          <pc:sldMk cId="387405084" sldId="1015"/>
        </pc:sldMkLst>
      </pc:sldChg>
      <pc:sldChg chg="del">
        <pc:chgData name="Per Hovde" userId="336a567d-735c-4805-ba8e-b6f07afebca7" providerId="ADAL" clId="{542BB3FC-9192-49E8-A310-2EF4485991FD}" dt="2021-12-21T07:09:45.934" v="20" actId="47"/>
        <pc:sldMkLst>
          <pc:docMk/>
          <pc:sldMk cId="3330499832" sldId="1016"/>
        </pc:sldMkLst>
      </pc:sldChg>
      <pc:sldChg chg="del">
        <pc:chgData name="Per Hovde" userId="336a567d-735c-4805-ba8e-b6f07afebca7" providerId="ADAL" clId="{542BB3FC-9192-49E8-A310-2EF4485991FD}" dt="2021-12-21T07:09:52.354" v="23" actId="47"/>
        <pc:sldMkLst>
          <pc:docMk/>
          <pc:sldMk cId="1069944342" sldId="1017"/>
        </pc:sldMkLst>
      </pc:sldChg>
      <pc:sldChg chg="del">
        <pc:chgData name="Per Hovde" userId="336a567d-735c-4805-ba8e-b6f07afebca7" providerId="ADAL" clId="{542BB3FC-9192-49E8-A310-2EF4485991FD}" dt="2021-12-21T07:09:55.721" v="25" actId="47"/>
        <pc:sldMkLst>
          <pc:docMk/>
          <pc:sldMk cId="1092783891" sldId="1018"/>
        </pc:sldMkLst>
      </pc:sldChg>
      <pc:sldChg chg="del">
        <pc:chgData name="Per Hovde" userId="336a567d-735c-4805-ba8e-b6f07afebca7" providerId="ADAL" clId="{542BB3FC-9192-49E8-A310-2EF4485991FD}" dt="2021-12-21T07:09:58.533" v="27" actId="47"/>
        <pc:sldMkLst>
          <pc:docMk/>
          <pc:sldMk cId="250437930" sldId="1019"/>
        </pc:sldMkLst>
      </pc:sldChg>
      <pc:sldChg chg="del">
        <pc:chgData name="Per Hovde" userId="336a567d-735c-4805-ba8e-b6f07afebca7" providerId="ADAL" clId="{542BB3FC-9192-49E8-A310-2EF4485991FD}" dt="2021-12-21T07:09:56.893" v="26" actId="47"/>
        <pc:sldMkLst>
          <pc:docMk/>
          <pc:sldMk cId="873312174" sldId="1020"/>
        </pc:sldMkLst>
      </pc:sldChg>
      <pc:sldChg chg="del">
        <pc:chgData name="Per Hovde" userId="336a567d-735c-4805-ba8e-b6f07afebca7" providerId="ADAL" clId="{542BB3FC-9192-49E8-A310-2EF4485991FD}" dt="2021-12-21T07:41:40.195" v="913"/>
        <pc:sldMkLst>
          <pc:docMk/>
          <pc:sldMk cId="1336474838" sldId="5280"/>
        </pc:sldMkLst>
      </pc:sldChg>
      <pc:sldChg chg="del">
        <pc:chgData name="Per Hovde" userId="336a567d-735c-4805-ba8e-b6f07afebca7" providerId="ADAL" clId="{542BB3FC-9192-49E8-A310-2EF4485991FD}" dt="2021-12-21T07:07:06.933" v="0" actId="47"/>
        <pc:sldMkLst>
          <pc:docMk/>
          <pc:sldMk cId="737702759" sldId="5363"/>
        </pc:sldMkLst>
      </pc:sldChg>
      <pc:sldChg chg="del">
        <pc:chgData name="Per Hovde" userId="336a567d-735c-4805-ba8e-b6f07afebca7" providerId="ADAL" clId="{542BB3FC-9192-49E8-A310-2EF4485991FD}" dt="2021-12-21T07:07:13.634" v="5" actId="47"/>
        <pc:sldMkLst>
          <pc:docMk/>
          <pc:sldMk cId="2463805874" sldId="5364"/>
        </pc:sldMkLst>
      </pc:sldChg>
      <pc:sldChg chg="del">
        <pc:chgData name="Per Hovde" userId="336a567d-735c-4805-ba8e-b6f07afebca7" providerId="ADAL" clId="{542BB3FC-9192-49E8-A310-2EF4485991FD}" dt="2021-12-21T07:07:07.572" v="1" actId="47"/>
        <pc:sldMkLst>
          <pc:docMk/>
          <pc:sldMk cId="305355944" sldId="5366"/>
        </pc:sldMkLst>
      </pc:sldChg>
      <pc:sldChg chg="del">
        <pc:chgData name="Per Hovde" userId="336a567d-735c-4805-ba8e-b6f07afebca7" providerId="ADAL" clId="{542BB3FC-9192-49E8-A310-2EF4485991FD}" dt="2021-12-21T07:07:11.426" v="4" actId="47"/>
        <pc:sldMkLst>
          <pc:docMk/>
          <pc:sldMk cId="243667177" sldId="5367"/>
        </pc:sldMkLst>
      </pc:sldChg>
      <pc:sldChg chg="del">
        <pc:chgData name="Per Hovde" userId="336a567d-735c-4805-ba8e-b6f07afebca7" providerId="ADAL" clId="{542BB3FC-9192-49E8-A310-2EF4485991FD}" dt="2021-12-21T07:07:08.174" v="2" actId="47"/>
        <pc:sldMkLst>
          <pc:docMk/>
          <pc:sldMk cId="1300154851" sldId="5368"/>
        </pc:sldMkLst>
      </pc:sldChg>
      <pc:sldChg chg="del">
        <pc:chgData name="Per Hovde" userId="336a567d-735c-4805-ba8e-b6f07afebca7" providerId="ADAL" clId="{542BB3FC-9192-49E8-A310-2EF4485991FD}" dt="2021-12-21T07:07:08.795" v="3" actId="47"/>
        <pc:sldMkLst>
          <pc:docMk/>
          <pc:sldMk cId="4046025578" sldId="5369"/>
        </pc:sldMkLst>
      </pc:sldChg>
      <pc:sldChg chg="del">
        <pc:chgData name="Per Hovde" userId="336a567d-735c-4805-ba8e-b6f07afebca7" providerId="ADAL" clId="{542BB3FC-9192-49E8-A310-2EF4485991FD}" dt="2021-12-21T07:08:49.900" v="8" actId="47"/>
        <pc:sldMkLst>
          <pc:docMk/>
          <pc:sldMk cId="3698189775" sldId="5419"/>
        </pc:sldMkLst>
      </pc:sldChg>
      <pc:sldChg chg="del">
        <pc:chgData name="Per Hovde" userId="336a567d-735c-4805-ba8e-b6f07afebca7" providerId="ADAL" clId="{542BB3FC-9192-49E8-A310-2EF4485991FD}" dt="2021-12-21T07:09:13.961" v="17" actId="47"/>
        <pc:sldMkLst>
          <pc:docMk/>
          <pc:sldMk cId="2850570824" sldId="5423"/>
        </pc:sldMkLst>
      </pc:sldChg>
      <pc:sldChg chg="del">
        <pc:chgData name="Per Hovde" userId="336a567d-735c-4805-ba8e-b6f07afebca7" providerId="ADAL" clId="{542BB3FC-9192-49E8-A310-2EF4485991FD}" dt="2021-12-21T07:09:47.704" v="21" actId="47"/>
        <pc:sldMkLst>
          <pc:docMk/>
          <pc:sldMk cId="746857244" sldId="5424"/>
        </pc:sldMkLst>
      </pc:sldChg>
      <pc:sldChg chg="del">
        <pc:chgData name="Per Hovde" userId="336a567d-735c-4805-ba8e-b6f07afebca7" providerId="ADAL" clId="{542BB3FC-9192-49E8-A310-2EF4485991FD}" dt="2021-12-21T07:08:51.442" v="9" actId="47"/>
        <pc:sldMkLst>
          <pc:docMk/>
          <pc:sldMk cId="3213898315" sldId="5428"/>
        </pc:sldMkLst>
      </pc:sldChg>
      <pc:sldChg chg="del">
        <pc:chgData name="Per Hovde" userId="336a567d-735c-4805-ba8e-b6f07afebca7" providerId="ADAL" clId="{542BB3FC-9192-49E8-A310-2EF4485991FD}" dt="2021-12-21T07:08:57.468" v="16" actId="47"/>
        <pc:sldMkLst>
          <pc:docMk/>
          <pc:sldMk cId="2068111393" sldId="5430"/>
        </pc:sldMkLst>
      </pc:sldChg>
      <pc:sldChg chg="del">
        <pc:chgData name="Per Hovde" userId="336a567d-735c-4805-ba8e-b6f07afebca7" providerId="ADAL" clId="{542BB3FC-9192-49E8-A310-2EF4485991FD}" dt="2021-12-21T07:08:56.545" v="15" actId="47"/>
        <pc:sldMkLst>
          <pc:docMk/>
          <pc:sldMk cId="639612405" sldId="5431"/>
        </pc:sldMkLst>
      </pc:sldChg>
      <pc:sldChg chg="del">
        <pc:chgData name="Per Hovde" userId="336a567d-735c-4805-ba8e-b6f07afebca7" providerId="ADAL" clId="{542BB3FC-9192-49E8-A310-2EF4485991FD}" dt="2021-12-21T07:08:55.259" v="14" actId="47"/>
        <pc:sldMkLst>
          <pc:docMk/>
          <pc:sldMk cId="3851326224" sldId="5432"/>
        </pc:sldMkLst>
      </pc:sldChg>
      <pc:sldChg chg="del">
        <pc:chgData name="Per Hovde" userId="336a567d-735c-4805-ba8e-b6f07afebca7" providerId="ADAL" clId="{542BB3FC-9192-49E8-A310-2EF4485991FD}" dt="2021-12-21T07:08:52.839" v="13" actId="47"/>
        <pc:sldMkLst>
          <pc:docMk/>
          <pc:sldMk cId="1948874999" sldId="5433"/>
        </pc:sldMkLst>
      </pc:sldChg>
      <pc:sldChg chg="del">
        <pc:chgData name="Per Hovde" userId="336a567d-735c-4805-ba8e-b6f07afebca7" providerId="ADAL" clId="{542BB3FC-9192-49E8-A310-2EF4485991FD}" dt="2021-12-21T07:08:52.547" v="12" actId="47"/>
        <pc:sldMkLst>
          <pc:docMk/>
          <pc:sldMk cId="886631530" sldId="5434"/>
        </pc:sldMkLst>
      </pc:sldChg>
      <pc:sldChg chg="del">
        <pc:chgData name="Per Hovde" userId="336a567d-735c-4805-ba8e-b6f07afebca7" providerId="ADAL" clId="{542BB3FC-9192-49E8-A310-2EF4485991FD}" dt="2021-12-21T07:08:52.245" v="11" actId="47"/>
        <pc:sldMkLst>
          <pc:docMk/>
          <pc:sldMk cId="626041705" sldId="5435"/>
        </pc:sldMkLst>
      </pc:sldChg>
      <pc:sldChg chg="del">
        <pc:chgData name="Per Hovde" userId="336a567d-735c-4805-ba8e-b6f07afebca7" providerId="ADAL" clId="{542BB3FC-9192-49E8-A310-2EF4485991FD}" dt="2021-12-21T07:08:51.855" v="10" actId="47"/>
        <pc:sldMkLst>
          <pc:docMk/>
          <pc:sldMk cId="1187582072" sldId="5437"/>
        </pc:sldMkLst>
      </pc:sldChg>
      <pc:sldChg chg="del">
        <pc:chgData name="Per Hovde" userId="336a567d-735c-4805-ba8e-b6f07afebca7" providerId="ADAL" clId="{542BB3FC-9192-49E8-A310-2EF4485991FD}" dt="2021-12-21T07:09:50.135" v="22" actId="47"/>
        <pc:sldMkLst>
          <pc:docMk/>
          <pc:sldMk cId="1090633618" sldId="5438"/>
        </pc:sldMkLst>
      </pc:sldChg>
      <pc:sldChg chg="del">
        <pc:chgData name="Per Hovde" userId="336a567d-735c-4805-ba8e-b6f07afebca7" providerId="ADAL" clId="{542BB3FC-9192-49E8-A310-2EF4485991FD}" dt="2021-12-21T07:09:54.518" v="24" actId="47"/>
        <pc:sldMkLst>
          <pc:docMk/>
          <pc:sldMk cId="59033855" sldId="5439"/>
        </pc:sldMkLst>
      </pc:sldChg>
      <pc:sldChg chg="del">
        <pc:chgData name="Per Hovde" userId="336a567d-735c-4805-ba8e-b6f07afebca7" providerId="ADAL" clId="{542BB3FC-9192-49E8-A310-2EF4485991FD}" dt="2021-12-21T07:07:14.383" v="6" actId="47"/>
        <pc:sldMkLst>
          <pc:docMk/>
          <pc:sldMk cId="3849777187" sldId="5440"/>
        </pc:sldMkLst>
      </pc:sldChg>
      <pc:sldChg chg="modSp mod modClrScheme modShow chgLayout">
        <pc:chgData name="Per Hovde" userId="336a567d-735c-4805-ba8e-b6f07afebca7" providerId="ADAL" clId="{542BB3FC-9192-49E8-A310-2EF4485991FD}" dt="2021-12-21T09:11:05.123" v="1494" actId="729"/>
        <pc:sldMkLst>
          <pc:docMk/>
          <pc:sldMk cId="1874421409" sldId="5444"/>
        </pc:sldMkLst>
        <pc:spChg chg="mod ord">
          <ac:chgData name="Per Hovde" userId="336a567d-735c-4805-ba8e-b6f07afebca7" providerId="ADAL" clId="{542BB3FC-9192-49E8-A310-2EF4485991FD}" dt="2021-12-21T08:21:31.428" v="1357" actId="700"/>
          <ac:spMkLst>
            <pc:docMk/>
            <pc:sldMk cId="1874421409" sldId="5444"/>
            <ac:spMk id="2" creationId="{DDBF6E4A-91E5-4C2F-8C41-5F71718B62CA}"/>
          </ac:spMkLst>
        </pc:spChg>
        <pc:spChg chg="mod ord">
          <ac:chgData name="Per Hovde" userId="336a567d-735c-4805-ba8e-b6f07afebca7" providerId="ADAL" clId="{542BB3FC-9192-49E8-A310-2EF4485991FD}" dt="2021-12-21T08:21:31.494" v="1358" actId="27636"/>
          <ac:spMkLst>
            <pc:docMk/>
            <pc:sldMk cId="1874421409" sldId="5444"/>
            <ac:spMk id="3" creationId="{6DB0F74A-B128-49E4-B409-3774C99D35C8}"/>
          </ac:spMkLst>
        </pc:spChg>
        <pc:spChg chg="mod ord">
          <ac:chgData name="Per Hovde" userId="336a567d-735c-4805-ba8e-b6f07afebca7" providerId="ADAL" clId="{542BB3FC-9192-49E8-A310-2EF4485991FD}" dt="2021-12-21T08:21:31.428" v="1357" actId="700"/>
          <ac:spMkLst>
            <pc:docMk/>
            <pc:sldMk cId="1874421409" sldId="5444"/>
            <ac:spMk id="4" creationId="{1352E7A4-2F55-46BD-A690-24248145B0FB}"/>
          </ac:spMkLst>
        </pc:spChg>
        <pc:spChg chg="mod ord">
          <ac:chgData name="Per Hovde" userId="336a567d-735c-4805-ba8e-b6f07afebca7" providerId="ADAL" clId="{542BB3FC-9192-49E8-A310-2EF4485991FD}" dt="2021-12-21T08:21:31.428" v="1357" actId="700"/>
          <ac:spMkLst>
            <pc:docMk/>
            <pc:sldMk cId="1874421409" sldId="5444"/>
            <ac:spMk id="5" creationId="{AEA58B0A-D441-4F6F-9F47-256B9D636164}"/>
          </ac:spMkLst>
        </pc:spChg>
      </pc:sldChg>
      <pc:sldChg chg="modSp mod modClrScheme chgLayout">
        <pc:chgData name="Per Hovde" userId="336a567d-735c-4805-ba8e-b6f07afebca7" providerId="ADAL" clId="{542BB3FC-9192-49E8-A310-2EF4485991FD}" dt="2021-12-21T08:21:44.962" v="1360" actId="27636"/>
        <pc:sldMkLst>
          <pc:docMk/>
          <pc:sldMk cId="1635964550" sldId="5452"/>
        </pc:sldMkLst>
        <pc:spChg chg="mod ord">
          <ac:chgData name="Per Hovde" userId="336a567d-735c-4805-ba8e-b6f07afebca7" providerId="ADAL" clId="{542BB3FC-9192-49E8-A310-2EF4485991FD}" dt="2021-12-21T08:21:44.962" v="1360" actId="27636"/>
          <ac:spMkLst>
            <pc:docMk/>
            <pc:sldMk cId="1635964550" sldId="5452"/>
            <ac:spMk id="3" creationId="{E270ABFC-DE3E-4327-9BAD-4687E1B9154E}"/>
          </ac:spMkLst>
        </pc:spChg>
        <pc:spChg chg="mod ord">
          <ac:chgData name="Per Hovde" userId="336a567d-735c-4805-ba8e-b6f07afebca7" providerId="ADAL" clId="{542BB3FC-9192-49E8-A310-2EF4485991FD}" dt="2021-12-21T08:21:44.902" v="1359" actId="700"/>
          <ac:spMkLst>
            <pc:docMk/>
            <pc:sldMk cId="1635964550" sldId="5452"/>
            <ac:spMk id="33" creationId="{95AB33C9-BC67-44F0-8A6C-B5D571D01271}"/>
          </ac:spMkLst>
        </pc:spChg>
      </pc:sldChg>
      <pc:sldChg chg="addSp delSp modSp mod modClrScheme chgLayout">
        <pc:chgData name="Per Hovde" userId="336a567d-735c-4805-ba8e-b6f07afebca7" providerId="ADAL" clId="{542BB3FC-9192-49E8-A310-2EF4485991FD}" dt="2021-12-21T09:46:06.209" v="1651" actId="20577"/>
        <pc:sldMkLst>
          <pc:docMk/>
          <pc:sldMk cId="2058901455" sldId="5453"/>
        </pc:sldMkLst>
        <pc:spChg chg="mod ord">
          <ac:chgData name="Per Hovde" userId="336a567d-735c-4805-ba8e-b6f07afebca7" providerId="ADAL" clId="{542BB3FC-9192-49E8-A310-2EF4485991FD}" dt="2021-12-21T08:22:10.553" v="1362" actId="700"/>
          <ac:spMkLst>
            <pc:docMk/>
            <pc:sldMk cId="2058901455" sldId="5453"/>
            <ac:spMk id="3" creationId="{49896AAD-DF4F-4B93-AF5E-97FA5C424D1D}"/>
          </ac:spMkLst>
        </pc:spChg>
        <pc:spChg chg="mod ord">
          <ac:chgData name="Per Hovde" userId="336a567d-735c-4805-ba8e-b6f07afebca7" providerId="ADAL" clId="{542BB3FC-9192-49E8-A310-2EF4485991FD}" dt="2021-12-21T08:22:10.553" v="1362" actId="700"/>
          <ac:spMkLst>
            <pc:docMk/>
            <pc:sldMk cId="2058901455" sldId="5453"/>
            <ac:spMk id="4" creationId="{13D26E99-BD18-498E-8069-FF05CE3B8603}"/>
          </ac:spMkLst>
        </pc:spChg>
        <pc:spChg chg="add del mod ord">
          <ac:chgData name="Per Hovde" userId="336a567d-735c-4805-ba8e-b6f07afebca7" providerId="ADAL" clId="{542BB3FC-9192-49E8-A310-2EF4485991FD}" dt="2021-12-21T08:22:17.393" v="1363" actId="478"/>
          <ac:spMkLst>
            <pc:docMk/>
            <pc:sldMk cId="2058901455" sldId="5453"/>
            <ac:spMk id="5" creationId="{1947EFD9-028B-4F02-B96F-6D2E96976E4A}"/>
          </ac:spMkLst>
        </pc:spChg>
        <pc:spChg chg="mod">
          <ac:chgData name="Per Hovde" userId="336a567d-735c-4805-ba8e-b6f07afebca7" providerId="ADAL" clId="{542BB3FC-9192-49E8-A310-2EF4485991FD}" dt="2021-12-21T09:46:06.209" v="1651" actId="20577"/>
          <ac:spMkLst>
            <pc:docMk/>
            <pc:sldMk cId="2058901455" sldId="5453"/>
            <ac:spMk id="26" creationId="{118CED4C-AA0D-4894-A624-61CB096A5DFD}"/>
          </ac:spMkLst>
        </pc:spChg>
      </pc:sldChg>
      <pc:sldChg chg="modSp mod modClrScheme chgLayout">
        <pc:chgData name="Per Hovde" userId="336a567d-735c-4805-ba8e-b6f07afebca7" providerId="ADAL" clId="{542BB3FC-9192-49E8-A310-2EF4485991FD}" dt="2021-12-21T08:54:04.393" v="1493" actId="1038"/>
        <pc:sldMkLst>
          <pc:docMk/>
          <pc:sldMk cId="4181058342" sldId="5455"/>
        </pc:sldMkLst>
        <pc:spChg chg="mod ord">
          <ac:chgData name="Per Hovde" userId="336a567d-735c-4805-ba8e-b6f07afebca7" providerId="ADAL" clId="{542BB3FC-9192-49E8-A310-2EF4485991FD}" dt="2021-12-21T08:21:58.866" v="1361" actId="700"/>
          <ac:spMkLst>
            <pc:docMk/>
            <pc:sldMk cId="4181058342" sldId="5455"/>
            <ac:spMk id="3" creationId="{8E45E90B-0738-4221-9053-E16734E76C07}"/>
          </ac:spMkLst>
        </pc:spChg>
        <pc:spChg chg="mod ord">
          <ac:chgData name="Per Hovde" userId="336a567d-735c-4805-ba8e-b6f07afebca7" providerId="ADAL" clId="{542BB3FC-9192-49E8-A310-2EF4485991FD}" dt="2021-12-21T08:21:58.866" v="1361" actId="700"/>
          <ac:spMkLst>
            <pc:docMk/>
            <pc:sldMk cId="4181058342" sldId="5455"/>
            <ac:spMk id="4" creationId="{E295CAE2-20D6-4FF9-A75C-8FC4118D6E7D}"/>
          </ac:spMkLst>
        </pc:spChg>
        <pc:spChg chg="mod">
          <ac:chgData name="Per Hovde" userId="336a567d-735c-4805-ba8e-b6f07afebca7" providerId="ADAL" clId="{542BB3FC-9192-49E8-A310-2EF4485991FD}" dt="2021-12-21T08:54:04.393" v="1493" actId="1038"/>
          <ac:spMkLst>
            <pc:docMk/>
            <pc:sldMk cId="4181058342" sldId="5455"/>
            <ac:spMk id="38" creationId="{DBCF0B3F-D4EA-44A1-883E-DF3535CEEF26}"/>
          </ac:spMkLst>
        </pc:spChg>
        <pc:spChg chg="mod ord">
          <ac:chgData name="Per Hovde" userId="336a567d-735c-4805-ba8e-b6f07afebca7" providerId="ADAL" clId="{542BB3FC-9192-49E8-A310-2EF4485991FD}" dt="2021-12-21T08:21:58.866" v="1361" actId="700"/>
          <ac:spMkLst>
            <pc:docMk/>
            <pc:sldMk cId="4181058342" sldId="5455"/>
            <ac:spMk id="73" creationId="{9F36EB1D-7202-44B0-BB75-850675FED8E5}"/>
          </ac:spMkLst>
        </pc:spChg>
        <pc:picChg chg="mod">
          <ac:chgData name="Per Hovde" userId="336a567d-735c-4805-ba8e-b6f07afebca7" providerId="ADAL" clId="{542BB3FC-9192-49E8-A310-2EF4485991FD}" dt="2021-12-21T08:53:52.869" v="1487" actId="1038"/>
          <ac:picMkLst>
            <pc:docMk/>
            <pc:sldMk cId="4181058342" sldId="5455"/>
            <ac:picMk id="57" creationId="{AEA74A28-CE60-49B8-A4EC-2122D316A55F}"/>
          </ac:picMkLst>
        </pc:picChg>
      </pc:sldChg>
      <pc:sldChg chg="addSp modSp new mod ord">
        <pc:chgData name="Per Hovde" userId="336a567d-735c-4805-ba8e-b6f07afebca7" providerId="ADAL" clId="{542BB3FC-9192-49E8-A310-2EF4485991FD}" dt="2021-12-21T08:23:42.897" v="1382"/>
        <pc:sldMkLst>
          <pc:docMk/>
          <pc:sldMk cId="445078835" sldId="5456"/>
        </pc:sldMkLst>
        <pc:spChg chg="mod">
          <ac:chgData name="Per Hovde" userId="336a567d-735c-4805-ba8e-b6f07afebca7" providerId="ADAL" clId="{542BB3FC-9192-49E8-A310-2EF4485991FD}" dt="2021-12-21T07:12:42.250" v="91" actId="20577"/>
          <ac:spMkLst>
            <pc:docMk/>
            <pc:sldMk cId="445078835" sldId="5456"/>
            <ac:spMk id="2" creationId="{3748072D-59E8-48FD-934C-FE85B4B4A5BD}"/>
          </ac:spMkLst>
        </pc:spChg>
        <pc:picChg chg="add mod">
          <ac:chgData name="Per Hovde" userId="336a567d-735c-4805-ba8e-b6f07afebca7" providerId="ADAL" clId="{542BB3FC-9192-49E8-A310-2EF4485991FD}" dt="2021-12-21T07:11:54.835" v="36" actId="1036"/>
          <ac:picMkLst>
            <pc:docMk/>
            <pc:sldMk cId="445078835" sldId="5456"/>
            <ac:picMk id="5" creationId="{AB8F297B-E718-4CE7-A0CB-E3ECF8A484B6}"/>
          </ac:picMkLst>
        </pc:picChg>
      </pc:sldChg>
      <pc:sldChg chg="modSp new mod">
        <pc:chgData name="Per Hovde" userId="336a567d-735c-4805-ba8e-b6f07afebca7" providerId="ADAL" clId="{542BB3FC-9192-49E8-A310-2EF4485991FD}" dt="2021-12-21T09:29:04.878" v="1640" actId="20577"/>
        <pc:sldMkLst>
          <pc:docMk/>
          <pc:sldMk cId="1580138600" sldId="5457"/>
        </pc:sldMkLst>
        <pc:spChg chg="mod">
          <ac:chgData name="Per Hovde" userId="336a567d-735c-4805-ba8e-b6f07afebca7" providerId="ADAL" clId="{542BB3FC-9192-49E8-A310-2EF4485991FD}" dt="2021-12-21T09:13:38.268" v="1594" actId="20577"/>
          <ac:spMkLst>
            <pc:docMk/>
            <pc:sldMk cId="1580138600" sldId="5457"/>
            <ac:spMk id="2" creationId="{10B69F06-A07F-4233-828F-C5CADFE80E29}"/>
          </ac:spMkLst>
        </pc:spChg>
        <pc:spChg chg="mod">
          <ac:chgData name="Per Hovde" userId="336a567d-735c-4805-ba8e-b6f07afebca7" providerId="ADAL" clId="{542BB3FC-9192-49E8-A310-2EF4485991FD}" dt="2021-12-21T09:29:04.878" v="1640" actId="20577"/>
          <ac:spMkLst>
            <pc:docMk/>
            <pc:sldMk cId="1580138600" sldId="5457"/>
            <ac:spMk id="3" creationId="{5B26B046-4E26-4A11-9AEB-945F239C4063}"/>
          </ac:spMkLst>
        </pc:spChg>
      </pc:sldChg>
      <pc:sldChg chg="addSp delSp modSp new mod modClrScheme chgLayout">
        <pc:chgData name="Per Hovde" userId="336a567d-735c-4805-ba8e-b6f07afebca7" providerId="ADAL" clId="{542BB3FC-9192-49E8-A310-2EF4485991FD}" dt="2021-12-21T09:48:44.961" v="1698" actId="20577"/>
        <pc:sldMkLst>
          <pc:docMk/>
          <pc:sldMk cId="3351134996" sldId="5458"/>
        </pc:sldMkLst>
        <pc:spChg chg="del mod ord">
          <ac:chgData name="Per Hovde" userId="336a567d-735c-4805-ba8e-b6f07afebca7" providerId="ADAL" clId="{542BB3FC-9192-49E8-A310-2EF4485991FD}" dt="2021-12-21T07:41:50.234" v="915" actId="700"/>
          <ac:spMkLst>
            <pc:docMk/>
            <pc:sldMk cId="3351134996" sldId="5458"/>
            <ac:spMk id="2" creationId="{4C17CE09-756D-4FFE-B453-45C1EE082EB5}"/>
          </ac:spMkLst>
        </pc:spChg>
        <pc:spChg chg="del">
          <ac:chgData name="Per Hovde" userId="336a567d-735c-4805-ba8e-b6f07afebca7" providerId="ADAL" clId="{542BB3FC-9192-49E8-A310-2EF4485991FD}" dt="2021-12-21T07:41:50.234" v="915" actId="700"/>
          <ac:spMkLst>
            <pc:docMk/>
            <pc:sldMk cId="3351134996" sldId="5458"/>
            <ac:spMk id="3" creationId="{F9D6F9F9-F5C2-443B-BCA9-FD29FDFB2DC9}"/>
          </ac:spMkLst>
        </pc:spChg>
        <pc:spChg chg="mod ord">
          <ac:chgData name="Per Hovde" userId="336a567d-735c-4805-ba8e-b6f07afebca7" providerId="ADAL" clId="{542BB3FC-9192-49E8-A310-2EF4485991FD}" dt="2021-12-21T07:41:50.234" v="915" actId="700"/>
          <ac:spMkLst>
            <pc:docMk/>
            <pc:sldMk cId="3351134996" sldId="5458"/>
            <ac:spMk id="4" creationId="{BC8D87C6-BA7F-4C02-A40D-349CDBE487CC}"/>
          </ac:spMkLst>
        </pc:spChg>
        <pc:spChg chg="mod ord">
          <ac:chgData name="Per Hovde" userId="336a567d-735c-4805-ba8e-b6f07afebca7" providerId="ADAL" clId="{542BB3FC-9192-49E8-A310-2EF4485991FD}" dt="2021-12-21T07:41:50.234" v="915" actId="700"/>
          <ac:spMkLst>
            <pc:docMk/>
            <pc:sldMk cId="3351134996" sldId="5458"/>
            <ac:spMk id="5" creationId="{01A67FE2-3A73-403B-B3F8-B27099973B54}"/>
          </ac:spMkLst>
        </pc:spChg>
        <pc:spChg chg="add mod ord">
          <ac:chgData name="Per Hovde" userId="336a567d-735c-4805-ba8e-b6f07afebca7" providerId="ADAL" clId="{542BB3FC-9192-49E8-A310-2EF4485991FD}" dt="2021-12-21T07:50:48.547" v="1018" actId="20577"/>
          <ac:spMkLst>
            <pc:docMk/>
            <pc:sldMk cId="3351134996" sldId="5458"/>
            <ac:spMk id="6" creationId="{2ED54C33-8908-40B1-8A42-3B6DF71FAECF}"/>
          </ac:spMkLst>
        </pc:spChg>
        <pc:spChg chg="add mod">
          <ac:chgData name="Per Hovde" userId="336a567d-735c-4805-ba8e-b6f07afebca7" providerId="ADAL" clId="{542BB3FC-9192-49E8-A310-2EF4485991FD}" dt="2021-12-21T08:31:15.718" v="1414" actId="207"/>
          <ac:spMkLst>
            <pc:docMk/>
            <pc:sldMk cId="3351134996" sldId="5458"/>
            <ac:spMk id="7" creationId="{86039D5A-8742-4B40-AE0C-F67EF0EE7345}"/>
          </ac:spMkLst>
        </pc:spChg>
        <pc:spChg chg="add mod">
          <ac:chgData name="Per Hovde" userId="336a567d-735c-4805-ba8e-b6f07afebca7" providerId="ADAL" clId="{542BB3FC-9192-49E8-A310-2EF4485991FD}" dt="2021-12-21T08:31:15.718" v="1414" actId="207"/>
          <ac:spMkLst>
            <pc:docMk/>
            <pc:sldMk cId="3351134996" sldId="5458"/>
            <ac:spMk id="8" creationId="{C888B099-0054-4B64-8B32-1133F8AD302B}"/>
          </ac:spMkLst>
        </pc:spChg>
        <pc:spChg chg="add mod">
          <ac:chgData name="Per Hovde" userId="336a567d-735c-4805-ba8e-b6f07afebca7" providerId="ADAL" clId="{542BB3FC-9192-49E8-A310-2EF4485991FD}" dt="2021-12-21T08:31:15.718" v="1414" actId="207"/>
          <ac:spMkLst>
            <pc:docMk/>
            <pc:sldMk cId="3351134996" sldId="5458"/>
            <ac:spMk id="9" creationId="{193626E7-7C7F-4B73-A81B-77936C473836}"/>
          </ac:spMkLst>
        </pc:spChg>
        <pc:spChg chg="add mod">
          <ac:chgData name="Per Hovde" userId="336a567d-735c-4805-ba8e-b6f07afebca7" providerId="ADAL" clId="{542BB3FC-9192-49E8-A310-2EF4485991FD}" dt="2021-12-21T08:29:50.958" v="1413" actId="20577"/>
          <ac:spMkLst>
            <pc:docMk/>
            <pc:sldMk cId="3351134996" sldId="5458"/>
            <ac:spMk id="10" creationId="{4E327019-BDF5-4A51-83F9-5B51B65F3770}"/>
          </ac:spMkLst>
        </pc:spChg>
        <pc:spChg chg="add mod">
          <ac:chgData name="Per Hovde" userId="336a567d-735c-4805-ba8e-b6f07afebca7" providerId="ADAL" clId="{542BB3FC-9192-49E8-A310-2EF4485991FD}" dt="2021-12-21T09:48:44.961" v="1698" actId="20577"/>
          <ac:spMkLst>
            <pc:docMk/>
            <pc:sldMk cId="3351134996" sldId="5458"/>
            <ac:spMk id="11" creationId="{302071A9-BBC7-429A-91E6-DD1DACB8139E}"/>
          </ac:spMkLst>
        </pc:spChg>
        <pc:spChg chg="add mod">
          <ac:chgData name="Per Hovde" userId="336a567d-735c-4805-ba8e-b6f07afebca7" providerId="ADAL" clId="{542BB3FC-9192-49E8-A310-2EF4485991FD}" dt="2021-12-21T09:48:35.551" v="1697" actId="20577"/>
          <ac:spMkLst>
            <pc:docMk/>
            <pc:sldMk cId="3351134996" sldId="5458"/>
            <ac:spMk id="12" creationId="{0C8E4DE4-628A-4E51-ABA3-DC479D914A42}"/>
          </ac:spMkLst>
        </pc:spChg>
        <pc:spChg chg="add mod">
          <ac:chgData name="Per Hovde" userId="336a567d-735c-4805-ba8e-b6f07afebca7" providerId="ADAL" clId="{542BB3FC-9192-49E8-A310-2EF4485991FD}" dt="2021-12-21T08:03:19.285" v="1168" actId="14100"/>
          <ac:spMkLst>
            <pc:docMk/>
            <pc:sldMk cId="3351134996" sldId="5458"/>
            <ac:spMk id="13" creationId="{093BFEF2-6D7F-415D-9E07-4BE63DD7961A}"/>
          </ac:spMkLst>
        </pc:spChg>
        <pc:spChg chg="add mod">
          <ac:chgData name="Per Hovde" userId="336a567d-735c-4805-ba8e-b6f07afebca7" providerId="ADAL" clId="{542BB3FC-9192-49E8-A310-2EF4485991FD}" dt="2021-12-21T07:54:43.294" v="1026" actId="20577"/>
          <ac:spMkLst>
            <pc:docMk/>
            <pc:sldMk cId="3351134996" sldId="5458"/>
            <ac:spMk id="14" creationId="{AB0449D5-42D4-4157-8A43-B8E57DA93911}"/>
          </ac:spMkLst>
        </pc:spChg>
        <pc:spChg chg="add mod">
          <ac:chgData name="Per Hovde" userId="336a567d-735c-4805-ba8e-b6f07afebca7" providerId="ADAL" clId="{542BB3FC-9192-49E8-A310-2EF4485991FD}" dt="2021-12-21T07:42:21.186" v="957" actId="1036"/>
          <ac:spMkLst>
            <pc:docMk/>
            <pc:sldMk cId="3351134996" sldId="5458"/>
            <ac:spMk id="15" creationId="{B69ADB1F-D2DE-4726-9EC2-8EB62CA3C28E}"/>
          </ac:spMkLst>
        </pc:spChg>
        <pc:spChg chg="add mod">
          <ac:chgData name="Per Hovde" userId="336a567d-735c-4805-ba8e-b6f07afebca7" providerId="ADAL" clId="{542BB3FC-9192-49E8-A310-2EF4485991FD}" dt="2021-12-21T07:43:16.967" v="968" actId="403"/>
          <ac:spMkLst>
            <pc:docMk/>
            <pc:sldMk cId="3351134996" sldId="5458"/>
            <ac:spMk id="18" creationId="{08997B39-C7A6-4D8B-9B9A-BF9B2127125F}"/>
          </ac:spMkLst>
        </pc:spChg>
        <pc:spChg chg="add mod">
          <ac:chgData name="Per Hovde" userId="336a567d-735c-4805-ba8e-b6f07afebca7" providerId="ADAL" clId="{542BB3FC-9192-49E8-A310-2EF4485991FD}" dt="2021-12-21T07:43:09.226" v="965" actId="20577"/>
          <ac:spMkLst>
            <pc:docMk/>
            <pc:sldMk cId="3351134996" sldId="5458"/>
            <ac:spMk id="19" creationId="{A144F6B6-3775-4D01-83F5-C95F5534C601}"/>
          </ac:spMkLst>
        </pc:spChg>
        <pc:cxnChg chg="add mod">
          <ac:chgData name="Per Hovde" userId="336a567d-735c-4805-ba8e-b6f07afebca7" providerId="ADAL" clId="{542BB3FC-9192-49E8-A310-2EF4485991FD}" dt="2021-12-21T08:03:19.285" v="1168" actId="14100"/>
          <ac:cxnSpMkLst>
            <pc:docMk/>
            <pc:sldMk cId="3351134996" sldId="5458"/>
            <ac:cxnSpMk id="16" creationId="{031B71B6-9A2B-40E9-9855-85C5D1A51BBF}"/>
          </ac:cxnSpMkLst>
        </pc:cxnChg>
        <pc:cxnChg chg="add mod">
          <ac:chgData name="Per Hovde" userId="336a567d-735c-4805-ba8e-b6f07afebca7" providerId="ADAL" clId="{542BB3FC-9192-49E8-A310-2EF4485991FD}" dt="2021-12-21T07:42:21.186" v="957" actId="1036"/>
          <ac:cxnSpMkLst>
            <pc:docMk/>
            <pc:sldMk cId="3351134996" sldId="5458"/>
            <ac:cxnSpMk id="17" creationId="{23488830-2C47-4E2A-B3EF-DE63260E9B45}"/>
          </ac:cxnSpMkLst>
        </pc:cxnChg>
      </pc:sldChg>
      <pc:sldChg chg="addSp delSp modSp add mod">
        <pc:chgData name="Per Hovde" userId="336a567d-735c-4805-ba8e-b6f07afebca7" providerId="ADAL" clId="{542BB3FC-9192-49E8-A310-2EF4485991FD}" dt="2021-12-21T08:52:05.766" v="1457" actId="1076"/>
        <pc:sldMkLst>
          <pc:docMk/>
          <pc:sldMk cId="4140432957" sldId="5459"/>
        </pc:sldMkLst>
        <pc:spChg chg="mod">
          <ac:chgData name="Per Hovde" userId="336a567d-735c-4805-ba8e-b6f07afebca7" providerId="ADAL" clId="{542BB3FC-9192-49E8-A310-2EF4485991FD}" dt="2021-12-21T08:52:05.766" v="1457" actId="1076"/>
          <ac:spMkLst>
            <pc:docMk/>
            <pc:sldMk cId="4140432957" sldId="5459"/>
            <ac:spMk id="4" creationId="{BC8D87C6-BA7F-4C02-A40D-349CDBE487CC}"/>
          </ac:spMkLst>
        </pc:spChg>
        <pc:spChg chg="mod">
          <ac:chgData name="Per Hovde" userId="336a567d-735c-4805-ba8e-b6f07afebca7" providerId="ADAL" clId="{542BB3FC-9192-49E8-A310-2EF4485991FD}" dt="2021-12-21T07:53:07.401" v="1021" actId="20577"/>
          <ac:spMkLst>
            <pc:docMk/>
            <pc:sldMk cId="4140432957" sldId="5459"/>
            <ac:spMk id="6" creationId="{2ED54C33-8908-40B1-8A42-3B6DF71FAECF}"/>
          </ac:spMkLst>
        </pc:spChg>
        <pc:spChg chg="del mod">
          <ac:chgData name="Per Hovde" userId="336a567d-735c-4805-ba8e-b6f07afebca7" providerId="ADAL" clId="{542BB3FC-9192-49E8-A310-2EF4485991FD}" dt="2021-12-21T08:04:24.106" v="1195" actId="478"/>
          <ac:spMkLst>
            <pc:docMk/>
            <pc:sldMk cId="4140432957" sldId="5459"/>
            <ac:spMk id="7" creationId="{86039D5A-8742-4B40-AE0C-F67EF0EE7345}"/>
          </ac:spMkLst>
        </pc:spChg>
        <pc:spChg chg="del mod ord">
          <ac:chgData name="Per Hovde" userId="336a567d-735c-4805-ba8e-b6f07afebca7" providerId="ADAL" clId="{542BB3FC-9192-49E8-A310-2EF4485991FD}" dt="2021-12-21T08:04:24.106" v="1195" actId="478"/>
          <ac:spMkLst>
            <pc:docMk/>
            <pc:sldMk cId="4140432957" sldId="5459"/>
            <ac:spMk id="8" creationId="{C888B099-0054-4B64-8B32-1133F8AD302B}"/>
          </ac:spMkLst>
        </pc:spChg>
        <pc:spChg chg="del mod ord">
          <ac:chgData name="Per Hovde" userId="336a567d-735c-4805-ba8e-b6f07afebca7" providerId="ADAL" clId="{542BB3FC-9192-49E8-A310-2EF4485991FD}" dt="2021-12-21T08:04:24.106" v="1195" actId="478"/>
          <ac:spMkLst>
            <pc:docMk/>
            <pc:sldMk cId="4140432957" sldId="5459"/>
            <ac:spMk id="9" creationId="{193626E7-7C7F-4B73-A81B-77936C473836}"/>
          </ac:spMkLst>
        </pc:spChg>
        <pc:spChg chg="mod">
          <ac:chgData name="Per Hovde" userId="336a567d-735c-4805-ba8e-b6f07afebca7" providerId="ADAL" clId="{542BB3FC-9192-49E8-A310-2EF4485991FD}" dt="2021-12-21T07:56:29.507" v="1073" actId="20577"/>
          <ac:spMkLst>
            <pc:docMk/>
            <pc:sldMk cId="4140432957" sldId="5459"/>
            <ac:spMk id="10" creationId="{4E327019-BDF5-4A51-83F9-5B51B65F3770}"/>
          </ac:spMkLst>
        </pc:spChg>
        <pc:spChg chg="mod">
          <ac:chgData name="Per Hovde" userId="336a567d-735c-4805-ba8e-b6f07afebca7" providerId="ADAL" clId="{542BB3FC-9192-49E8-A310-2EF4485991FD}" dt="2021-12-21T08:19:39.066" v="1283" actId="1035"/>
          <ac:spMkLst>
            <pc:docMk/>
            <pc:sldMk cId="4140432957" sldId="5459"/>
            <ac:spMk id="11" creationId="{302071A9-BBC7-429A-91E6-DD1DACB8139E}"/>
          </ac:spMkLst>
        </pc:spChg>
        <pc:spChg chg="del">
          <ac:chgData name="Per Hovde" userId="336a567d-735c-4805-ba8e-b6f07afebca7" providerId="ADAL" clId="{542BB3FC-9192-49E8-A310-2EF4485991FD}" dt="2021-12-21T07:55:27.270" v="1032" actId="478"/>
          <ac:spMkLst>
            <pc:docMk/>
            <pc:sldMk cId="4140432957" sldId="5459"/>
            <ac:spMk id="12" creationId="{0C8E4DE4-628A-4E51-ABA3-DC479D914A42}"/>
          </ac:spMkLst>
        </pc:spChg>
        <pc:spChg chg="del">
          <ac:chgData name="Per Hovde" userId="336a567d-735c-4805-ba8e-b6f07afebca7" providerId="ADAL" clId="{542BB3FC-9192-49E8-A310-2EF4485991FD}" dt="2021-12-21T07:55:22.342" v="1030" actId="478"/>
          <ac:spMkLst>
            <pc:docMk/>
            <pc:sldMk cId="4140432957" sldId="5459"/>
            <ac:spMk id="13" creationId="{093BFEF2-6D7F-415D-9E07-4BE63DD7961A}"/>
          </ac:spMkLst>
        </pc:spChg>
        <pc:spChg chg="del mod">
          <ac:chgData name="Per Hovde" userId="336a567d-735c-4805-ba8e-b6f07afebca7" providerId="ADAL" clId="{542BB3FC-9192-49E8-A310-2EF4485991FD}" dt="2021-12-21T07:55:32.160" v="1033" actId="478"/>
          <ac:spMkLst>
            <pc:docMk/>
            <pc:sldMk cId="4140432957" sldId="5459"/>
            <ac:spMk id="14" creationId="{AB0449D5-42D4-4157-8A43-B8E57DA93911}"/>
          </ac:spMkLst>
        </pc:spChg>
        <pc:spChg chg="del">
          <ac:chgData name="Per Hovde" userId="336a567d-735c-4805-ba8e-b6f07afebca7" providerId="ADAL" clId="{542BB3FC-9192-49E8-A310-2EF4485991FD}" dt="2021-12-21T07:55:34.990" v="1034" actId="478"/>
          <ac:spMkLst>
            <pc:docMk/>
            <pc:sldMk cId="4140432957" sldId="5459"/>
            <ac:spMk id="15" creationId="{B69ADB1F-D2DE-4726-9EC2-8EB62CA3C28E}"/>
          </ac:spMkLst>
        </pc:spChg>
        <pc:spChg chg="del mod">
          <ac:chgData name="Per Hovde" userId="336a567d-735c-4805-ba8e-b6f07afebca7" providerId="ADAL" clId="{542BB3FC-9192-49E8-A310-2EF4485991FD}" dt="2021-12-21T07:55:05.390" v="1028" actId="478"/>
          <ac:spMkLst>
            <pc:docMk/>
            <pc:sldMk cId="4140432957" sldId="5459"/>
            <ac:spMk id="18" creationId="{08997B39-C7A6-4D8B-9B9A-BF9B2127125F}"/>
          </ac:spMkLst>
        </pc:spChg>
        <pc:spChg chg="del">
          <ac:chgData name="Per Hovde" userId="336a567d-735c-4805-ba8e-b6f07afebca7" providerId="ADAL" clId="{542BB3FC-9192-49E8-A310-2EF4485991FD}" dt="2021-12-21T07:55:17.217" v="1029" actId="478"/>
          <ac:spMkLst>
            <pc:docMk/>
            <pc:sldMk cId="4140432957" sldId="5459"/>
            <ac:spMk id="19" creationId="{A144F6B6-3775-4D01-83F5-C95F5534C601}"/>
          </ac:spMkLst>
        </pc:spChg>
        <pc:spChg chg="add mod">
          <ac:chgData name="Per Hovde" userId="336a567d-735c-4805-ba8e-b6f07afebca7" providerId="ADAL" clId="{542BB3FC-9192-49E8-A310-2EF4485991FD}" dt="2021-12-21T08:19:46.021" v="1295" actId="1036"/>
          <ac:spMkLst>
            <pc:docMk/>
            <pc:sldMk cId="4140432957" sldId="5459"/>
            <ac:spMk id="20" creationId="{4F00D714-53EC-4516-9BB7-E20ED275B876}"/>
          </ac:spMkLst>
        </pc:spChg>
        <pc:spChg chg="add mod">
          <ac:chgData name="Per Hovde" userId="336a567d-735c-4805-ba8e-b6f07afebca7" providerId="ADAL" clId="{542BB3FC-9192-49E8-A310-2EF4485991FD}" dt="2021-12-21T08:19:46.021" v="1295" actId="1036"/>
          <ac:spMkLst>
            <pc:docMk/>
            <pc:sldMk cId="4140432957" sldId="5459"/>
            <ac:spMk id="21" creationId="{F1150D5B-7586-438B-8356-4EA78FF9AA5C}"/>
          </ac:spMkLst>
        </pc:spChg>
        <pc:spChg chg="add mod">
          <ac:chgData name="Per Hovde" userId="336a567d-735c-4805-ba8e-b6f07afebca7" providerId="ADAL" clId="{542BB3FC-9192-49E8-A310-2EF4485991FD}" dt="2021-12-21T08:19:46.021" v="1295" actId="1036"/>
          <ac:spMkLst>
            <pc:docMk/>
            <pc:sldMk cId="4140432957" sldId="5459"/>
            <ac:spMk id="22" creationId="{A13EC32E-22F5-421C-961B-A5DDEB56F163}"/>
          </ac:spMkLst>
        </pc:spChg>
        <pc:spChg chg="add mod">
          <ac:chgData name="Per Hovde" userId="336a567d-735c-4805-ba8e-b6f07afebca7" providerId="ADAL" clId="{542BB3FC-9192-49E8-A310-2EF4485991FD}" dt="2021-12-21T08:52:03.879" v="1456" actId="1036"/>
          <ac:spMkLst>
            <pc:docMk/>
            <pc:sldMk cId="4140432957" sldId="5459"/>
            <ac:spMk id="29" creationId="{7D6185D7-98CD-49EA-A58F-35B8AFED860C}"/>
          </ac:spMkLst>
        </pc:spChg>
        <pc:cxnChg chg="add mod">
          <ac:chgData name="Per Hovde" userId="336a567d-735c-4805-ba8e-b6f07afebca7" providerId="ADAL" clId="{542BB3FC-9192-49E8-A310-2EF4485991FD}" dt="2021-12-21T08:19:46.021" v="1295" actId="1036"/>
          <ac:cxnSpMkLst>
            <pc:docMk/>
            <pc:sldMk cId="4140432957" sldId="5459"/>
            <ac:cxnSpMk id="3" creationId="{0E9A6A65-3E31-4A2A-B203-82C7CA50AC02}"/>
          </ac:cxnSpMkLst>
        </pc:cxnChg>
        <pc:cxnChg chg="del mod">
          <ac:chgData name="Per Hovde" userId="336a567d-735c-4805-ba8e-b6f07afebca7" providerId="ADAL" clId="{542BB3FC-9192-49E8-A310-2EF4485991FD}" dt="2021-12-21T07:55:25.234" v="1031" actId="478"/>
          <ac:cxnSpMkLst>
            <pc:docMk/>
            <pc:sldMk cId="4140432957" sldId="5459"/>
            <ac:cxnSpMk id="16" creationId="{031B71B6-9A2B-40E9-9855-85C5D1A51BBF}"/>
          </ac:cxnSpMkLst>
        </pc:cxnChg>
        <pc:cxnChg chg="mod">
          <ac:chgData name="Per Hovde" userId="336a567d-735c-4805-ba8e-b6f07afebca7" providerId="ADAL" clId="{542BB3FC-9192-49E8-A310-2EF4485991FD}" dt="2021-12-21T08:19:39.066" v="1283" actId="1035"/>
          <ac:cxnSpMkLst>
            <pc:docMk/>
            <pc:sldMk cId="4140432957" sldId="5459"/>
            <ac:cxnSpMk id="17" creationId="{23488830-2C47-4E2A-B3EF-DE63260E9B45}"/>
          </ac:cxnSpMkLst>
        </pc:cxnChg>
        <pc:cxnChg chg="add mod">
          <ac:chgData name="Per Hovde" userId="336a567d-735c-4805-ba8e-b6f07afebca7" providerId="ADAL" clId="{542BB3FC-9192-49E8-A310-2EF4485991FD}" dt="2021-12-21T08:19:46.021" v="1295" actId="1036"/>
          <ac:cxnSpMkLst>
            <pc:docMk/>
            <pc:sldMk cId="4140432957" sldId="5459"/>
            <ac:cxnSpMk id="23" creationId="{B837A068-4B74-4B10-BA9E-0B6508A664D8}"/>
          </ac:cxnSpMkLst>
        </pc:cxnChg>
        <pc:cxnChg chg="add mod">
          <ac:chgData name="Per Hovde" userId="336a567d-735c-4805-ba8e-b6f07afebca7" providerId="ADAL" clId="{542BB3FC-9192-49E8-A310-2EF4485991FD}" dt="2021-12-21T08:19:46.021" v="1295" actId="1036"/>
          <ac:cxnSpMkLst>
            <pc:docMk/>
            <pc:sldMk cId="4140432957" sldId="5459"/>
            <ac:cxnSpMk id="26" creationId="{A2074528-7457-48A2-9A1F-A10974DE4093}"/>
          </ac:cxnSpMkLst>
        </pc:cxnChg>
      </pc:sldChg>
      <pc:sldChg chg="addSp delSp modSp new mod chgLayout">
        <pc:chgData name="Per Hovde" userId="336a567d-735c-4805-ba8e-b6f07afebca7" providerId="ADAL" clId="{542BB3FC-9192-49E8-A310-2EF4485991FD}" dt="2021-12-21T10:57:21.644" v="1753" actId="404"/>
        <pc:sldMkLst>
          <pc:docMk/>
          <pc:sldMk cId="2533510891" sldId="5460"/>
        </pc:sldMkLst>
        <pc:spChg chg="del">
          <ac:chgData name="Per Hovde" userId="336a567d-735c-4805-ba8e-b6f07afebca7" providerId="ADAL" clId="{542BB3FC-9192-49E8-A310-2EF4485991FD}" dt="2021-12-21T10:56:34.018" v="1743" actId="478"/>
          <ac:spMkLst>
            <pc:docMk/>
            <pc:sldMk cId="2533510891" sldId="5460"/>
            <ac:spMk id="2" creationId="{206D7075-20BD-49D1-A780-910E0CDA40C2}"/>
          </ac:spMkLst>
        </pc:spChg>
        <pc:spChg chg="mod ord">
          <ac:chgData name="Per Hovde" userId="336a567d-735c-4805-ba8e-b6f07afebca7" providerId="ADAL" clId="{542BB3FC-9192-49E8-A310-2EF4485991FD}" dt="2021-12-21T10:57:07.112" v="1746" actId="700"/>
          <ac:spMkLst>
            <pc:docMk/>
            <pc:sldMk cId="2533510891" sldId="5460"/>
            <ac:spMk id="3" creationId="{8AF83E69-AE87-4FC2-BAE1-ADBB558C1BDC}"/>
          </ac:spMkLst>
        </pc:spChg>
        <pc:spChg chg="mod ord">
          <ac:chgData name="Per Hovde" userId="336a567d-735c-4805-ba8e-b6f07afebca7" providerId="ADAL" clId="{542BB3FC-9192-49E8-A310-2EF4485991FD}" dt="2021-12-21T10:57:07.112" v="1746" actId="700"/>
          <ac:spMkLst>
            <pc:docMk/>
            <pc:sldMk cId="2533510891" sldId="5460"/>
            <ac:spMk id="4" creationId="{BA2A2EFC-FAE5-45F8-8837-190601078C00}"/>
          </ac:spMkLst>
        </pc:spChg>
        <pc:spChg chg="add mod ord">
          <ac:chgData name="Per Hovde" userId="336a567d-735c-4805-ba8e-b6f07afebca7" providerId="ADAL" clId="{542BB3FC-9192-49E8-A310-2EF4485991FD}" dt="2021-12-21T10:57:21.644" v="1753" actId="404"/>
          <ac:spMkLst>
            <pc:docMk/>
            <pc:sldMk cId="2533510891" sldId="5460"/>
            <ac:spMk id="5" creationId="{4827BE2A-76B4-4244-8391-DAF3B3620B42}"/>
          </ac:spMkLst>
        </pc:spChg>
        <pc:picChg chg="add mod">
          <ac:chgData name="Per Hovde" userId="336a567d-735c-4805-ba8e-b6f07afebca7" providerId="ADAL" clId="{542BB3FC-9192-49E8-A310-2EF4485991FD}" dt="2021-12-21T10:57:02.698" v="1745" actId="1076"/>
          <ac:picMkLst>
            <pc:docMk/>
            <pc:sldMk cId="2533510891" sldId="5460"/>
            <ac:picMk id="2050" creationId="{3D278E9F-2654-41EA-9288-A02872ACD439}"/>
          </ac:picMkLst>
        </pc:picChg>
      </pc:sldChg>
      <pc:sldMasterChg chg="del delSldLayout">
        <pc:chgData name="Per Hovde" userId="336a567d-735c-4805-ba8e-b6f07afebca7" providerId="ADAL" clId="{542BB3FC-9192-49E8-A310-2EF4485991FD}" dt="2021-12-21T07:07:14.383" v="6" actId="47"/>
        <pc:sldMasterMkLst>
          <pc:docMk/>
          <pc:sldMasterMk cId="4229444332" sldId="2147483663"/>
        </pc:sldMasterMkLst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1704949037" sldId="2147483664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3519123913" sldId="2147483665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3324423571" sldId="2147483666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2511584181" sldId="2147483667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3339950657" sldId="2147483668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4147637639" sldId="2147483669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1109558135" sldId="2147483670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292157696" sldId="2147483671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3610424719" sldId="2147483672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3889966297" sldId="2147483673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2128627605" sldId="2147483674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2993790473" sldId="2147483675"/>
          </pc:sldLayoutMkLst>
        </pc:sldLayoutChg>
        <pc:sldLayoutChg chg="del">
          <pc:chgData name="Per Hovde" userId="336a567d-735c-4805-ba8e-b6f07afebca7" providerId="ADAL" clId="{542BB3FC-9192-49E8-A310-2EF4485991FD}" dt="2021-12-21T07:07:14.383" v="6" actId="47"/>
          <pc:sldLayoutMkLst>
            <pc:docMk/>
            <pc:sldMasterMk cId="4229444332" sldId="2147483663"/>
            <pc:sldLayoutMk cId="2617970965" sldId="2147483676"/>
          </pc:sldLayoutMkLst>
        </pc:sldLayoutChg>
      </pc:sldMasterChg>
    </pc:docChg>
  </pc:docChgLst>
  <pc:docChgLst>
    <pc:chgData name="Heidi Joanne Bergh-Hoff" userId="b7345d7b-94c6-4195-9161-e0f2b6e92b35" providerId="ADAL" clId="{B6E98990-C04C-4E3D-8F94-682A0079C78C}"/>
    <pc:docChg chg="undo custSel addSld delSld modSld sldOrd modNotesMaster">
      <pc:chgData name="Heidi Joanne Bergh-Hoff" userId="b7345d7b-94c6-4195-9161-e0f2b6e92b35" providerId="ADAL" clId="{B6E98990-C04C-4E3D-8F94-682A0079C78C}" dt="2022-01-19T07:59:09.500" v="5892" actId="20577"/>
      <pc:docMkLst>
        <pc:docMk/>
      </pc:docMkLst>
      <pc:sldChg chg="addSp delSp modSp add mod ord modNotesTx">
        <pc:chgData name="Heidi Joanne Bergh-Hoff" userId="b7345d7b-94c6-4195-9161-e0f2b6e92b35" providerId="ADAL" clId="{B6E98990-C04C-4E3D-8F94-682A0079C78C}" dt="2022-01-19T07:59:09.500" v="5892" actId="20577"/>
        <pc:sldMkLst>
          <pc:docMk/>
          <pc:sldMk cId="4006469760" sldId="259"/>
        </pc:sldMkLst>
        <pc:spChg chg="mod">
          <ac:chgData name="Heidi Joanne Bergh-Hoff" userId="b7345d7b-94c6-4195-9161-e0f2b6e92b35" providerId="ADAL" clId="{B6E98990-C04C-4E3D-8F94-682A0079C78C}" dt="2022-01-15T15:48:25.140" v="726" actId="1035"/>
          <ac:spMkLst>
            <pc:docMk/>
            <pc:sldMk cId="4006469760" sldId="259"/>
            <ac:spMk id="2" creationId="{09654EF4-7B0B-496C-897C-E628CEF818E0}"/>
          </ac:spMkLst>
        </pc:spChg>
        <pc:spChg chg="mod">
          <ac:chgData name="Heidi Joanne Bergh-Hoff" userId="b7345d7b-94c6-4195-9161-e0f2b6e92b35" providerId="ADAL" clId="{B6E98990-C04C-4E3D-8F94-682A0079C78C}" dt="2022-01-17T10:57:56.973" v="1415" actId="20577"/>
          <ac:spMkLst>
            <pc:docMk/>
            <pc:sldMk cId="4006469760" sldId="259"/>
            <ac:spMk id="3" creationId="{51DF8D76-169E-40B0-ABB7-D349E7ED3708}"/>
          </ac:spMkLst>
        </pc:spChg>
        <pc:picChg chg="del">
          <ac:chgData name="Heidi Joanne Bergh-Hoff" userId="b7345d7b-94c6-4195-9161-e0f2b6e92b35" providerId="ADAL" clId="{B6E98990-C04C-4E3D-8F94-682A0079C78C}" dt="2022-01-15T15:21:48.334" v="627" actId="478"/>
          <ac:picMkLst>
            <pc:docMk/>
            <pc:sldMk cId="4006469760" sldId="259"/>
            <ac:picMk id="8" creationId="{F68E3E66-0ECB-4CA7-B44A-1FD289AD6FD2}"/>
          </ac:picMkLst>
        </pc:picChg>
        <pc:picChg chg="add mod">
          <ac:chgData name="Heidi Joanne Bergh-Hoff" userId="b7345d7b-94c6-4195-9161-e0f2b6e92b35" providerId="ADAL" clId="{B6E98990-C04C-4E3D-8F94-682A0079C78C}" dt="2022-01-15T15:21:55.424" v="630" actId="1076"/>
          <ac:picMkLst>
            <pc:docMk/>
            <pc:sldMk cId="4006469760" sldId="259"/>
            <ac:picMk id="9" creationId="{0FC122F1-0341-44E1-8CC1-BAA741125E8E}"/>
          </ac:picMkLst>
        </pc:picChg>
      </pc:sldChg>
      <pc:sldChg chg="modSp add mod modNotesTx">
        <pc:chgData name="Heidi Joanne Bergh-Hoff" userId="b7345d7b-94c6-4195-9161-e0f2b6e92b35" providerId="ADAL" clId="{B6E98990-C04C-4E3D-8F94-682A0079C78C}" dt="2022-01-18T17:59:57.037" v="5380" actId="14100"/>
        <pc:sldMkLst>
          <pc:docMk/>
          <pc:sldMk cId="1658385148" sldId="2153"/>
        </pc:sldMkLst>
        <pc:spChg chg="mod">
          <ac:chgData name="Heidi Joanne Bergh-Hoff" userId="b7345d7b-94c6-4195-9161-e0f2b6e92b35" providerId="ADAL" clId="{B6E98990-C04C-4E3D-8F94-682A0079C78C}" dt="2022-01-15T15:01:40.692" v="542" actId="14100"/>
          <ac:spMkLst>
            <pc:docMk/>
            <pc:sldMk cId="1658385148" sldId="2153"/>
            <ac:spMk id="3" creationId="{4CB33384-59E7-43CA-B839-B7B741C67CDE}"/>
          </ac:spMkLst>
        </pc:spChg>
        <pc:spChg chg="mod">
          <ac:chgData name="Heidi Joanne Bergh-Hoff" userId="b7345d7b-94c6-4195-9161-e0f2b6e92b35" providerId="ADAL" clId="{B6E98990-C04C-4E3D-8F94-682A0079C78C}" dt="2022-01-17T14:59:35.436" v="3221" actId="14100"/>
          <ac:spMkLst>
            <pc:docMk/>
            <pc:sldMk cId="1658385148" sldId="2153"/>
            <ac:spMk id="22" creationId="{4742675F-66BA-41F9-A277-B6A37FCEF7B4}"/>
          </ac:spMkLst>
        </pc:spChg>
        <pc:spChg chg="mod">
          <ac:chgData name="Heidi Joanne Bergh-Hoff" userId="b7345d7b-94c6-4195-9161-e0f2b6e92b35" providerId="ADAL" clId="{B6E98990-C04C-4E3D-8F94-682A0079C78C}" dt="2022-01-18T17:59:57.037" v="5380" actId="14100"/>
          <ac:spMkLst>
            <pc:docMk/>
            <pc:sldMk cId="1658385148" sldId="2153"/>
            <ac:spMk id="23" creationId="{2D650FE4-4FFD-4E62-9EDD-055A1FBDB07A}"/>
          </ac:spMkLst>
        </pc:spChg>
      </pc:sldChg>
      <pc:sldChg chg="modSp add mod modNotesTx">
        <pc:chgData name="Heidi Joanne Bergh-Hoff" userId="b7345d7b-94c6-4195-9161-e0f2b6e92b35" providerId="ADAL" clId="{B6E98990-C04C-4E3D-8F94-682A0079C78C}" dt="2022-01-19T05:57:05.271" v="5805" actId="20577"/>
        <pc:sldMkLst>
          <pc:docMk/>
          <pc:sldMk cId="1946562151" sldId="2154"/>
        </pc:sldMkLst>
        <pc:spChg chg="mod">
          <ac:chgData name="Heidi Joanne Bergh-Hoff" userId="b7345d7b-94c6-4195-9161-e0f2b6e92b35" providerId="ADAL" clId="{B6E98990-C04C-4E3D-8F94-682A0079C78C}" dt="2022-01-17T12:36:11.470" v="1906" actId="207"/>
          <ac:spMkLst>
            <pc:docMk/>
            <pc:sldMk cId="1946562151" sldId="2154"/>
            <ac:spMk id="3" creationId="{4CB33384-59E7-43CA-B839-B7B741C67CDE}"/>
          </ac:spMkLst>
        </pc:spChg>
        <pc:spChg chg="mod">
          <ac:chgData name="Heidi Joanne Bergh-Hoff" userId="b7345d7b-94c6-4195-9161-e0f2b6e92b35" providerId="ADAL" clId="{B6E98990-C04C-4E3D-8F94-682A0079C78C}" dt="2022-01-18T09:37:07.890" v="4798" actId="20577"/>
          <ac:spMkLst>
            <pc:docMk/>
            <pc:sldMk cId="1946562151" sldId="2154"/>
            <ac:spMk id="10" creationId="{D9D3A892-1E60-429A-8B1B-1ABB89C4DB5E}"/>
          </ac:spMkLst>
        </pc:spChg>
        <pc:spChg chg="mod">
          <ac:chgData name="Heidi Joanne Bergh-Hoff" userId="b7345d7b-94c6-4195-9161-e0f2b6e92b35" providerId="ADAL" clId="{B6E98990-C04C-4E3D-8F94-682A0079C78C}" dt="2022-01-17T14:59:28.526" v="3220" actId="14100"/>
          <ac:spMkLst>
            <pc:docMk/>
            <pc:sldMk cId="1946562151" sldId="2154"/>
            <ac:spMk id="22" creationId="{4742675F-66BA-41F9-A277-B6A37FCEF7B4}"/>
          </ac:spMkLst>
        </pc:spChg>
        <pc:spChg chg="mod">
          <ac:chgData name="Heidi Joanne Bergh-Hoff" userId="b7345d7b-94c6-4195-9161-e0f2b6e92b35" providerId="ADAL" clId="{B6E98990-C04C-4E3D-8F94-682A0079C78C}" dt="2022-01-18T18:02:08.563" v="5387" actId="1038"/>
          <ac:spMkLst>
            <pc:docMk/>
            <pc:sldMk cId="1946562151" sldId="2154"/>
            <ac:spMk id="23" creationId="{2D650FE4-4FFD-4E62-9EDD-055A1FBDB07A}"/>
          </ac:spMkLst>
        </pc:spChg>
      </pc:sldChg>
      <pc:sldChg chg="modSp add del mod modNotesTx">
        <pc:chgData name="Heidi Joanne Bergh-Hoff" userId="b7345d7b-94c6-4195-9161-e0f2b6e92b35" providerId="ADAL" clId="{B6E98990-C04C-4E3D-8F94-682A0079C78C}" dt="2022-01-17T13:28:22.692" v="2888" actId="47"/>
        <pc:sldMkLst>
          <pc:docMk/>
          <pc:sldMk cId="3925065065" sldId="2159"/>
        </pc:sldMkLst>
        <pc:spChg chg="mod">
          <ac:chgData name="Heidi Joanne Bergh-Hoff" userId="b7345d7b-94c6-4195-9161-e0f2b6e92b35" providerId="ADAL" clId="{B6E98990-C04C-4E3D-8F94-682A0079C78C}" dt="2022-01-15T15:00:46.604" v="524" actId="20577"/>
          <ac:spMkLst>
            <pc:docMk/>
            <pc:sldMk cId="3925065065" sldId="2159"/>
            <ac:spMk id="22" creationId="{4742675F-66BA-41F9-A277-B6A37FCEF7B4}"/>
          </ac:spMkLst>
        </pc:spChg>
        <pc:spChg chg="mod">
          <ac:chgData name="Heidi Joanne Bergh-Hoff" userId="b7345d7b-94c6-4195-9161-e0f2b6e92b35" providerId="ADAL" clId="{B6E98990-C04C-4E3D-8F94-682A0079C78C}" dt="2022-01-17T11:51:24.129" v="1751" actId="20577"/>
          <ac:spMkLst>
            <pc:docMk/>
            <pc:sldMk cId="3925065065" sldId="2159"/>
            <ac:spMk id="24" creationId="{C3A9E71C-2DB7-47D2-9A8F-ABBADA9E54F3}"/>
          </ac:spMkLst>
        </pc:spChg>
      </pc:sldChg>
      <pc:sldChg chg="addSp delSp modSp add del mod">
        <pc:chgData name="Heidi Joanne Bergh-Hoff" userId="b7345d7b-94c6-4195-9161-e0f2b6e92b35" providerId="ADAL" clId="{B6E98990-C04C-4E3D-8F94-682A0079C78C}" dt="2022-01-17T13:23:13.772" v="2677" actId="47"/>
        <pc:sldMkLst>
          <pc:docMk/>
          <pc:sldMk cId="3282691888" sldId="2160"/>
        </pc:sldMkLst>
        <pc:spChg chg="add mod">
          <ac:chgData name="Heidi Joanne Bergh-Hoff" userId="b7345d7b-94c6-4195-9161-e0f2b6e92b35" providerId="ADAL" clId="{B6E98990-C04C-4E3D-8F94-682A0079C78C}" dt="2022-01-17T11:51:53.544" v="1753"/>
          <ac:spMkLst>
            <pc:docMk/>
            <pc:sldMk cId="3282691888" sldId="2160"/>
            <ac:spMk id="9" creationId="{3F1C2978-BF44-4B1A-A3A2-D52CEAFF4C92}"/>
          </ac:spMkLst>
        </pc:spChg>
        <pc:spChg chg="mod">
          <ac:chgData name="Heidi Joanne Bergh-Hoff" userId="b7345d7b-94c6-4195-9161-e0f2b6e92b35" providerId="ADAL" clId="{B6E98990-C04C-4E3D-8F94-682A0079C78C}" dt="2022-01-15T15:00:54.926" v="538" actId="20577"/>
          <ac:spMkLst>
            <pc:docMk/>
            <pc:sldMk cId="3282691888" sldId="2160"/>
            <ac:spMk id="22" creationId="{4742675F-66BA-41F9-A277-B6A37FCEF7B4}"/>
          </ac:spMkLst>
        </pc:spChg>
        <pc:spChg chg="del">
          <ac:chgData name="Heidi Joanne Bergh-Hoff" userId="b7345d7b-94c6-4195-9161-e0f2b6e92b35" providerId="ADAL" clId="{B6E98990-C04C-4E3D-8F94-682A0079C78C}" dt="2022-01-17T11:51:52.353" v="1752" actId="478"/>
          <ac:spMkLst>
            <pc:docMk/>
            <pc:sldMk cId="3282691888" sldId="2160"/>
            <ac:spMk id="24" creationId="{C3A9E71C-2DB7-47D2-9A8F-ABBADA9E54F3}"/>
          </ac:spMkLst>
        </pc:spChg>
      </pc:sldChg>
      <pc:sldChg chg="addCm">
        <pc:chgData name="Heidi Joanne Bergh-Hoff" userId="b7345d7b-94c6-4195-9161-e0f2b6e92b35" providerId="ADAL" clId="{B6E98990-C04C-4E3D-8F94-682A0079C78C}" dt="2022-01-17T10:15:47" v="902"/>
        <pc:sldMkLst>
          <pc:docMk/>
          <pc:sldMk cId="721357093" sldId="5464"/>
        </pc:sldMkLst>
      </pc:sldChg>
      <pc:sldChg chg="addSp delSp modSp add mod ord modNotesTx">
        <pc:chgData name="Heidi Joanne Bergh-Hoff" userId="b7345d7b-94c6-4195-9161-e0f2b6e92b35" providerId="ADAL" clId="{B6E98990-C04C-4E3D-8F94-682A0079C78C}" dt="2022-01-19T05:57:55.767" v="5806"/>
        <pc:sldMkLst>
          <pc:docMk/>
          <pc:sldMk cId="1031893476" sldId="5465"/>
        </pc:sldMkLst>
        <pc:spChg chg="del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2" creationId="{58474331-1D6C-48D2-B305-77CEEE36C06F}"/>
          </ac:spMkLst>
        </pc:spChg>
        <pc:spChg chg="del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5" creationId="{989CAE94-4B42-4E8D-913B-CF588B97C515}"/>
          </ac:spMkLst>
        </pc:spChg>
        <pc:spChg chg="del mod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6" creationId="{5937AAA9-F623-4247-98B5-B2B59F2B9185}"/>
          </ac:spMkLst>
        </pc:spChg>
        <pc:spChg chg="mod">
          <ac:chgData name="Heidi Joanne Bergh-Hoff" userId="b7345d7b-94c6-4195-9161-e0f2b6e92b35" providerId="ADAL" clId="{B6E98990-C04C-4E3D-8F94-682A0079C78C}" dt="2022-01-15T15:43:39.154" v="717" actId="1038"/>
          <ac:spMkLst>
            <pc:docMk/>
            <pc:sldMk cId="1031893476" sldId="5465"/>
            <ac:spMk id="17" creationId="{FFA01300-FFFB-4E2F-8399-7ACF2234CCFA}"/>
          </ac:spMkLst>
        </pc:spChg>
        <pc:spChg chg="del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20" creationId="{EC9F3F78-7CF3-427E-BCE7-20EFB799A7BF}"/>
          </ac:spMkLst>
        </pc:spChg>
        <pc:spChg chg="del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23" creationId="{E61FE8FA-D8A8-40E5-8BED-C7B5791E57C0}"/>
          </ac:spMkLst>
        </pc:spChg>
        <pc:spChg chg="del mod">
          <ac:chgData name="Heidi Joanne Bergh-Hoff" userId="b7345d7b-94c6-4195-9161-e0f2b6e92b35" providerId="ADAL" clId="{B6E98990-C04C-4E3D-8F94-682A0079C78C}" dt="2022-01-15T14:13:27.321" v="89" actId="478"/>
          <ac:spMkLst>
            <pc:docMk/>
            <pc:sldMk cId="1031893476" sldId="5465"/>
            <ac:spMk id="31" creationId="{DFCE0214-62FD-4946-8FF5-8F238B9E02C1}"/>
          </ac:spMkLst>
        </pc:spChg>
        <pc:spChg chg="del">
          <ac:chgData name="Heidi Joanne Bergh-Hoff" userId="b7345d7b-94c6-4195-9161-e0f2b6e92b35" providerId="ADAL" clId="{B6E98990-C04C-4E3D-8F94-682A0079C78C}" dt="2022-01-15T14:13:46.239" v="92" actId="478"/>
          <ac:spMkLst>
            <pc:docMk/>
            <pc:sldMk cId="1031893476" sldId="5465"/>
            <ac:spMk id="32" creationId="{D4E308B6-8C4A-49AE-AC92-8638C5E4D0FA}"/>
          </ac:spMkLst>
        </pc:spChg>
        <pc:spChg chg="del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39" creationId="{5356B58C-8683-4152-A1DA-7906B7472773}"/>
          </ac:spMkLst>
        </pc:spChg>
        <pc:spChg chg="del">
          <ac:chgData name="Heidi Joanne Bergh-Hoff" userId="b7345d7b-94c6-4195-9161-e0f2b6e92b35" providerId="ADAL" clId="{B6E98990-C04C-4E3D-8F94-682A0079C78C}" dt="2022-01-15T14:13:40.175" v="91" actId="478"/>
          <ac:spMkLst>
            <pc:docMk/>
            <pc:sldMk cId="1031893476" sldId="5465"/>
            <ac:spMk id="40" creationId="{3972C8E8-316A-45DB-BF04-562E431CD41F}"/>
          </ac:spMkLst>
        </pc:spChg>
        <pc:picChg chg="add mod">
          <ac:chgData name="Heidi Joanne Bergh-Hoff" userId="b7345d7b-94c6-4195-9161-e0f2b6e92b35" providerId="ADAL" clId="{B6E98990-C04C-4E3D-8F94-682A0079C78C}" dt="2022-01-15T15:43:40.210" v="718" actId="1076"/>
          <ac:picMkLst>
            <pc:docMk/>
            <pc:sldMk cId="1031893476" sldId="5465"/>
            <ac:picMk id="7" creationId="{156C15C4-0AE3-4297-A8FF-15CB59AC340F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8" creationId="{818939BD-B446-41F4-A278-BDAD1E1AE690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10" creationId="{0033021A-DCC1-483B-92FC-04006E9AB059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14" creationId="{36E2B7F1-1013-43C2-9011-77A005CD69F8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16" creationId="{A081E4F1-AAC2-4308-AEE7-B51FF06E05BD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18" creationId="{AEA0F132-B68F-4422-9DBC-C86CD2ABC29B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21" creationId="{6CFE8A98-4043-4E44-9F38-1537D125565B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22" creationId="{9091AD32-DBC4-4D2D-84DB-AAEACD9A0E63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28" creationId="{C1C58CE6-046B-43A0-948A-551DD2F8BD03}"/>
          </ac:picMkLst>
        </pc:picChg>
        <pc:picChg chg="del">
          <ac:chgData name="Heidi Joanne Bergh-Hoff" userId="b7345d7b-94c6-4195-9161-e0f2b6e92b35" providerId="ADAL" clId="{B6E98990-C04C-4E3D-8F94-682A0079C78C}" dt="2022-01-15T14:13:40.175" v="91" actId="478"/>
          <ac:picMkLst>
            <pc:docMk/>
            <pc:sldMk cId="1031893476" sldId="5465"/>
            <ac:picMk id="36" creationId="{9A65859F-DECA-4346-A167-0B74FFB7038A}"/>
          </ac:picMkLst>
        </pc:pic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24" creationId="{0E39D62F-0448-4301-8C30-D86D057C75C5}"/>
          </ac:cxnSpMkLst>
        </pc:cxn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25" creationId="{78ABA829-A0E0-44FB-BA9C-7001803FF392}"/>
          </ac:cxnSpMkLst>
        </pc:cxn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26" creationId="{254C73F0-E75C-4819-969F-C6E1A0D3B52A}"/>
          </ac:cxnSpMkLst>
        </pc:cxn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29" creationId="{CB530F22-F9BB-44D2-B46E-731E9F27ABDF}"/>
          </ac:cxnSpMkLst>
        </pc:cxn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30" creationId="{46792841-6069-4D6C-A8AA-A8AB98D7F783}"/>
          </ac:cxnSpMkLst>
        </pc:cxn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34" creationId="{0A3B656F-8654-4DCE-A71A-2A570EB378A5}"/>
          </ac:cxnSpMkLst>
        </pc:cxnChg>
        <pc:cxnChg chg="del mod">
          <ac:chgData name="Heidi Joanne Bergh-Hoff" userId="b7345d7b-94c6-4195-9161-e0f2b6e92b35" providerId="ADAL" clId="{B6E98990-C04C-4E3D-8F94-682A0079C78C}" dt="2022-01-15T14:13:40.175" v="91" actId="478"/>
          <ac:cxnSpMkLst>
            <pc:docMk/>
            <pc:sldMk cId="1031893476" sldId="5465"/>
            <ac:cxnSpMk id="38" creationId="{0F5950D2-000A-4F4B-B5E7-63C2CE379EA0}"/>
          </ac:cxnSpMkLst>
        </pc:cxnChg>
      </pc:sldChg>
      <pc:sldChg chg="modSp add del mod">
        <pc:chgData name="Heidi Joanne Bergh-Hoff" userId="b7345d7b-94c6-4195-9161-e0f2b6e92b35" providerId="ADAL" clId="{B6E98990-C04C-4E3D-8F94-682A0079C78C}" dt="2022-01-15T14:59:47.254" v="512" actId="47"/>
        <pc:sldMkLst>
          <pc:docMk/>
          <pc:sldMk cId="3786250971" sldId="5466"/>
        </pc:sldMkLst>
        <pc:spChg chg="mod">
          <ac:chgData name="Heidi Joanne Bergh-Hoff" userId="b7345d7b-94c6-4195-9161-e0f2b6e92b35" providerId="ADAL" clId="{B6E98990-C04C-4E3D-8F94-682A0079C78C}" dt="2022-01-15T14:23:32.338" v="299" actId="1038"/>
          <ac:spMkLst>
            <pc:docMk/>
            <pc:sldMk cId="3786250971" sldId="5466"/>
            <ac:spMk id="17" creationId="{FFA01300-FFFB-4E2F-8399-7ACF2234CCFA}"/>
          </ac:spMkLst>
        </pc:spChg>
      </pc:sldChg>
      <pc:sldChg chg="addSp delSp modSp add mod ord modNotesTx">
        <pc:chgData name="Heidi Joanne Bergh-Hoff" userId="b7345d7b-94c6-4195-9161-e0f2b6e92b35" providerId="ADAL" clId="{B6E98990-C04C-4E3D-8F94-682A0079C78C}" dt="2022-01-19T05:56:17.769" v="5804" actId="20577"/>
        <pc:sldMkLst>
          <pc:docMk/>
          <pc:sldMk cId="392715201" sldId="5467"/>
        </pc:sldMkLst>
        <pc:spChg chg="mod">
          <ac:chgData name="Heidi Joanne Bergh-Hoff" userId="b7345d7b-94c6-4195-9161-e0f2b6e92b35" providerId="ADAL" clId="{B6E98990-C04C-4E3D-8F94-682A0079C78C}" dt="2022-01-17T14:54:27.346" v="3203" actId="1076"/>
          <ac:spMkLst>
            <pc:docMk/>
            <pc:sldMk cId="392715201" sldId="5467"/>
            <ac:spMk id="17" creationId="{FFA01300-FFFB-4E2F-8399-7ACF2234CCFA}"/>
          </ac:spMkLst>
        </pc:spChg>
        <pc:picChg chg="add mod">
          <ac:chgData name="Heidi Joanne Bergh-Hoff" userId="b7345d7b-94c6-4195-9161-e0f2b6e92b35" providerId="ADAL" clId="{B6E98990-C04C-4E3D-8F94-682A0079C78C}" dt="2022-01-17T07:26:26.897" v="901" actId="1037"/>
          <ac:picMkLst>
            <pc:docMk/>
            <pc:sldMk cId="392715201" sldId="5467"/>
            <ac:picMk id="3" creationId="{0A9A5FEE-B201-4BE3-BA55-6E9FFD2274B0}"/>
          </ac:picMkLst>
        </pc:picChg>
        <pc:picChg chg="add del mod">
          <ac:chgData name="Heidi Joanne Bergh-Hoff" userId="b7345d7b-94c6-4195-9161-e0f2b6e92b35" providerId="ADAL" clId="{B6E98990-C04C-4E3D-8F94-682A0079C78C}" dt="2022-01-15T15:25:22.872" v="633" actId="478"/>
          <ac:picMkLst>
            <pc:docMk/>
            <pc:sldMk cId="392715201" sldId="5467"/>
            <ac:picMk id="3" creationId="{AB197C31-FC9C-4D87-8D82-AED9CEF717B2}"/>
          </ac:picMkLst>
        </pc:picChg>
        <pc:picChg chg="add del mod">
          <ac:chgData name="Heidi Joanne Bergh-Hoff" userId="b7345d7b-94c6-4195-9161-e0f2b6e92b35" providerId="ADAL" clId="{B6E98990-C04C-4E3D-8F94-682A0079C78C}" dt="2022-01-17T07:25:23.853" v="883" actId="478"/>
          <ac:picMkLst>
            <pc:docMk/>
            <pc:sldMk cId="392715201" sldId="5467"/>
            <ac:picMk id="5" creationId="{3779FA91-6CA3-4550-83F3-CC1CEF9A3787}"/>
          </ac:picMkLst>
        </pc:picChg>
      </pc:sldChg>
      <pc:sldChg chg="addSp delSp modSp add del mod ord">
        <pc:chgData name="Heidi Joanne Bergh-Hoff" userId="b7345d7b-94c6-4195-9161-e0f2b6e92b35" providerId="ADAL" clId="{B6E98990-C04C-4E3D-8F94-682A0079C78C}" dt="2022-01-18T09:13:04.418" v="4736" actId="47"/>
        <pc:sldMkLst>
          <pc:docMk/>
          <pc:sldMk cId="4215638215" sldId="5468"/>
        </pc:sldMkLst>
        <pc:spChg chg="add mod">
          <ac:chgData name="Heidi Joanne Bergh-Hoff" userId="b7345d7b-94c6-4195-9161-e0f2b6e92b35" providerId="ADAL" clId="{B6E98990-C04C-4E3D-8F94-682A0079C78C}" dt="2022-01-17T17:46:55.829" v="3688" actId="1036"/>
          <ac:spMkLst>
            <pc:docMk/>
            <pc:sldMk cId="4215638215" sldId="5468"/>
            <ac:spMk id="4" creationId="{AEA24DD1-50FA-45C9-BF16-E3D73EBA5714}"/>
          </ac:spMkLst>
        </pc:spChg>
        <pc:spChg chg="add mod">
          <ac:chgData name="Heidi Joanne Bergh-Hoff" userId="b7345d7b-94c6-4195-9161-e0f2b6e92b35" providerId="ADAL" clId="{B6E98990-C04C-4E3D-8F94-682A0079C78C}" dt="2022-01-17T17:46:46.484" v="3662" actId="1036"/>
          <ac:spMkLst>
            <pc:docMk/>
            <pc:sldMk cId="4215638215" sldId="5468"/>
            <ac:spMk id="6" creationId="{9F1718DB-3A17-4DEA-8F88-EED406DB2770}"/>
          </ac:spMkLst>
        </pc:spChg>
        <pc:spChg chg="add mod">
          <ac:chgData name="Heidi Joanne Bergh-Hoff" userId="b7345d7b-94c6-4195-9161-e0f2b6e92b35" providerId="ADAL" clId="{B6E98990-C04C-4E3D-8F94-682A0079C78C}" dt="2022-01-16T12:07:56.202" v="882" actId="1036"/>
          <ac:spMkLst>
            <pc:docMk/>
            <pc:sldMk cId="4215638215" sldId="5468"/>
            <ac:spMk id="8" creationId="{15311062-F916-4655-A753-E23CF392F28E}"/>
          </ac:spMkLst>
        </pc:spChg>
        <pc:spChg chg="add mod">
          <ac:chgData name="Heidi Joanne Bergh-Hoff" userId="b7345d7b-94c6-4195-9161-e0f2b6e92b35" providerId="ADAL" clId="{B6E98990-C04C-4E3D-8F94-682A0079C78C}" dt="2022-01-17T17:46:55.829" v="3688" actId="1036"/>
          <ac:spMkLst>
            <pc:docMk/>
            <pc:sldMk cId="4215638215" sldId="5468"/>
            <ac:spMk id="9" creationId="{61A7F8C0-67B0-4012-83CB-DD7535BF0670}"/>
          </ac:spMkLst>
        </pc:spChg>
        <pc:spChg chg="add mod">
          <ac:chgData name="Heidi Joanne Bergh-Hoff" userId="b7345d7b-94c6-4195-9161-e0f2b6e92b35" providerId="ADAL" clId="{B6E98990-C04C-4E3D-8F94-682A0079C78C}" dt="2022-01-17T17:21:05.546" v="3432" actId="113"/>
          <ac:spMkLst>
            <pc:docMk/>
            <pc:sldMk cId="4215638215" sldId="5468"/>
            <ac:spMk id="10" creationId="{287D29C8-8559-4B25-B0D9-840694667EC8}"/>
          </ac:spMkLst>
        </pc:spChg>
        <pc:spChg chg="add mod">
          <ac:chgData name="Heidi Joanne Bergh-Hoff" userId="b7345d7b-94c6-4195-9161-e0f2b6e92b35" providerId="ADAL" clId="{B6E98990-C04C-4E3D-8F94-682A0079C78C}" dt="2022-01-17T17:46:46.484" v="3662" actId="1036"/>
          <ac:spMkLst>
            <pc:docMk/>
            <pc:sldMk cId="4215638215" sldId="5468"/>
            <ac:spMk id="11" creationId="{1BFF03A8-1AA4-48D3-A7E0-5D7CDBDBA927}"/>
          </ac:spMkLst>
        </pc:spChg>
        <pc:spChg chg="mod">
          <ac:chgData name="Heidi Joanne Bergh-Hoff" userId="b7345d7b-94c6-4195-9161-e0f2b6e92b35" providerId="ADAL" clId="{B6E98990-C04C-4E3D-8F94-682A0079C78C}" dt="2022-01-17T17:46:12.843" v="3645" actId="20577"/>
          <ac:spMkLst>
            <pc:docMk/>
            <pc:sldMk cId="4215638215" sldId="5468"/>
            <ac:spMk id="17" creationId="{FFA01300-FFFB-4E2F-8399-7ACF2234CCFA}"/>
          </ac:spMkLst>
        </pc:spChg>
        <pc:picChg chg="add del mod">
          <ac:chgData name="Heidi Joanne Bergh-Hoff" userId="b7345d7b-94c6-4195-9161-e0f2b6e92b35" providerId="ADAL" clId="{B6E98990-C04C-4E3D-8F94-682A0079C78C}" dt="2022-01-15T14:42:48.397" v="369" actId="478"/>
          <ac:picMkLst>
            <pc:docMk/>
            <pc:sldMk cId="4215638215" sldId="5468"/>
            <ac:picMk id="3" creationId="{68444D6A-097A-4667-9CAB-F10FCCBF4E84}"/>
          </ac:picMkLst>
        </pc:picChg>
        <pc:picChg chg="add mod">
          <ac:chgData name="Heidi Joanne Bergh-Hoff" userId="b7345d7b-94c6-4195-9161-e0f2b6e92b35" providerId="ADAL" clId="{B6E98990-C04C-4E3D-8F94-682A0079C78C}" dt="2022-01-17T17:46:55.829" v="3688" actId="1036"/>
          <ac:picMkLst>
            <pc:docMk/>
            <pc:sldMk cId="4215638215" sldId="5468"/>
            <ac:picMk id="3" creationId="{C64745D8-3F2D-47BC-9E97-D33537FAE7A4}"/>
          </ac:picMkLst>
        </pc:picChg>
        <pc:picChg chg="add mod">
          <ac:chgData name="Heidi Joanne Bergh-Hoff" userId="b7345d7b-94c6-4195-9161-e0f2b6e92b35" providerId="ADAL" clId="{B6E98990-C04C-4E3D-8F94-682A0079C78C}" dt="2022-01-17T17:46:46.484" v="3662" actId="1036"/>
          <ac:picMkLst>
            <pc:docMk/>
            <pc:sldMk cId="4215638215" sldId="5468"/>
            <ac:picMk id="5" creationId="{C30F1780-79DE-4889-BCEB-89991B5990B3}"/>
          </ac:picMkLst>
        </pc:picChg>
        <pc:picChg chg="mod">
          <ac:chgData name="Heidi Joanne Bergh-Hoff" userId="b7345d7b-94c6-4195-9161-e0f2b6e92b35" providerId="ADAL" clId="{B6E98990-C04C-4E3D-8F94-682A0079C78C}" dt="2022-01-15T14:53:05.292" v="435" actId="1038"/>
          <ac:picMkLst>
            <pc:docMk/>
            <pc:sldMk cId="4215638215" sldId="5468"/>
            <ac:picMk id="7" creationId="{156C15C4-0AE3-4297-A8FF-15CB59AC340F}"/>
          </ac:picMkLst>
        </pc:picChg>
        <pc:picChg chg="add del mod">
          <ac:chgData name="Heidi Joanne Bergh-Hoff" userId="b7345d7b-94c6-4195-9161-e0f2b6e92b35" providerId="ADAL" clId="{B6E98990-C04C-4E3D-8F94-682A0079C78C}" dt="2022-01-15T14:51:19.934" v="394" actId="478"/>
          <ac:picMkLst>
            <pc:docMk/>
            <pc:sldMk cId="4215638215" sldId="5468"/>
            <ac:picMk id="8" creationId="{DB94BBDF-B824-4A89-8B87-295FAAEFB269}"/>
          </ac:picMkLst>
        </pc:picChg>
        <pc:picChg chg="add del mod">
          <ac:chgData name="Heidi Joanne Bergh-Hoff" userId="b7345d7b-94c6-4195-9161-e0f2b6e92b35" providerId="ADAL" clId="{B6E98990-C04C-4E3D-8F94-682A0079C78C}" dt="2022-01-16T12:04:56.713" v="732" actId="478"/>
          <ac:picMkLst>
            <pc:docMk/>
            <pc:sldMk cId="4215638215" sldId="5468"/>
            <ac:picMk id="10" creationId="{7BA84775-BD10-4E6B-9C68-D2D4E11ECA07}"/>
          </ac:picMkLst>
        </pc:picChg>
      </pc:sldChg>
      <pc:sldChg chg="modSp new del mod ord">
        <pc:chgData name="Heidi Joanne Bergh-Hoff" userId="b7345d7b-94c6-4195-9161-e0f2b6e92b35" providerId="ADAL" clId="{B6E98990-C04C-4E3D-8F94-682A0079C78C}" dt="2022-01-17T10:22:57.466" v="1059" actId="47"/>
        <pc:sldMkLst>
          <pc:docMk/>
          <pc:sldMk cId="1272059864" sldId="5469"/>
        </pc:sldMkLst>
        <pc:spChg chg="mod">
          <ac:chgData name="Heidi Joanne Bergh-Hoff" userId="b7345d7b-94c6-4195-9161-e0f2b6e92b35" providerId="ADAL" clId="{B6E98990-C04C-4E3D-8F94-682A0079C78C}" dt="2022-01-17T10:22:45.301" v="1058" actId="20577"/>
          <ac:spMkLst>
            <pc:docMk/>
            <pc:sldMk cId="1272059864" sldId="5469"/>
            <ac:spMk id="2" creationId="{76BDDA36-388D-4E5F-8F8E-C553CE4BE39D}"/>
          </ac:spMkLst>
        </pc:spChg>
      </pc:sldChg>
      <pc:sldChg chg="modSp new mod modNotesTx">
        <pc:chgData name="Heidi Joanne Bergh-Hoff" userId="b7345d7b-94c6-4195-9161-e0f2b6e92b35" providerId="ADAL" clId="{B6E98990-C04C-4E3D-8F94-682A0079C78C}" dt="2022-01-18T19:22:24.541" v="5501" actId="20577"/>
        <pc:sldMkLst>
          <pc:docMk/>
          <pc:sldMk cId="2982395684" sldId="5469"/>
        </pc:sldMkLst>
        <pc:spChg chg="mod">
          <ac:chgData name="Heidi Joanne Bergh-Hoff" userId="b7345d7b-94c6-4195-9161-e0f2b6e92b35" providerId="ADAL" clId="{B6E98990-C04C-4E3D-8F94-682A0079C78C}" dt="2022-01-17T12:06:23.448" v="1821" actId="20577"/>
          <ac:spMkLst>
            <pc:docMk/>
            <pc:sldMk cId="2982395684" sldId="5469"/>
            <ac:spMk id="2" creationId="{F4A69AD9-4D19-45EA-8B89-B8D2CCD71BE4}"/>
          </ac:spMkLst>
        </pc:spChg>
        <pc:spChg chg="mod">
          <ac:chgData name="Heidi Joanne Bergh-Hoff" userId="b7345d7b-94c6-4195-9161-e0f2b6e92b35" providerId="ADAL" clId="{B6E98990-C04C-4E3D-8F94-682A0079C78C}" dt="2022-01-18T19:22:24.541" v="5501" actId="20577"/>
          <ac:spMkLst>
            <pc:docMk/>
            <pc:sldMk cId="2982395684" sldId="5469"/>
            <ac:spMk id="3" creationId="{5D38E560-F6D4-4C58-A406-C66CABE52B61}"/>
          </ac:spMkLst>
        </pc:spChg>
      </pc:sldChg>
      <pc:sldChg chg="modSp add del mod">
        <pc:chgData name="Heidi Joanne Bergh-Hoff" userId="b7345d7b-94c6-4195-9161-e0f2b6e92b35" providerId="ADAL" clId="{B6E98990-C04C-4E3D-8F94-682A0079C78C}" dt="2022-01-17T12:38:33.105" v="1916" actId="47"/>
        <pc:sldMkLst>
          <pc:docMk/>
          <pc:sldMk cId="4163339158" sldId="5470"/>
        </pc:sldMkLst>
        <pc:spChg chg="mod">
          <ac:chgData name="Heidi Joanne Bergh-Hoff" userId="b7345d7b-94c6-4195-9161-e0f2b6e92b35" providerId="ADAL" clId="{B6E98990-C04C-4E3D-8F94-682A0079C78C}" dt="2022-01-17T12:33:51.692" v="1876" actId="207"/>
          <ac:spMkLst>
            <pc:docMk/>
            <pc:sldMk cId="4163339158" sldId="5470"/>
            <ac:spMk id="3" creationId="{4CB33384-59E7-43CA-B839-B7B741C67CDE}"/>
          </ac:spMkLst>
        </pc:spChg>
      </pc:sldChg>
      <pc:sldChg chg="addSp delSp modSp add del mod">
        <pc:chgData name="Heidi Joanne Bergh-Hoff" userId="b7345d7b-94c6-4195-9161-e0f2b6e92b35" providerId="ADAL" clId="{B6E98990-C04C-4E3D-8F94-682A0079C78C}" dt="2022-01-17T13:41:45.882" v="3117" actId="47"/>
        <pc:sldMkLst>
          <pc:docMk/>
          <pc:sldMk cId="1254065203" sldId="5471"/>
        </pc:sldMkLst>
        <pc:spChg chg="add mod">
          <ac:chgData name="Heidi Joanne Bergh-Hoff" userId="b7345d7b-94c6-4195-9161-e0f2b6e92b35" providerId="ADAL" clId="{B6E98990-C04C-4E3D-8F94-682A0079C78C}" dt="2022-01-17T13:25:30.781" v="2748" actId="1038"/>
          <ac:spMkLst>
            <pc:docMk/>
            <pc:sldMk cId="1254065203" sldId="5471"/>
            <ac:spMk id="2" creationId="{3684BF32-4FDC-417F-83A6-44F449415F7D}"/>
          </ac:spMkLst>
        </pc:spChg>
        <pc:spChg chg="add mod ord">
          <ac:chgData name="Heidi Joanne Bergh-Hoff" userId="b7345d7b-94c6-4195-9161-e0f2b6e92b35" providerId="ADAL" clId="{B6E98990-C04C-4E3D-8F94-682A0079C78C}" dt="2022-01-17T13:28:55.099" v="2902" actId="1036"/>
          <ac:spMkLst>
            <pc:docMk/>
            <pc:sldMk cId="1254065203" sldId="5471"/>
            <ac:spMk id="4" creationId="{E5AD8692-4CF0-4865-8D46-E1C4C16F616F}"/>
          </ac:spMkLst>
        </pc:spChg>
        <pc:spChg chg="add mod">
          <ac:chgData name="Heidi Joanne Bergh-Hoff" userId="b7345d7b-94c6-4195-9161-e0f2b6e92b35" providerId="ADAL" clId="{B6E98990-C04C-4E3D-8F94-682A0079C78C}" dt="2022-01-17T13:26:14.452" v="2785" actId="1037"/>
          <ac:spMkLst>
            <pc:docMk/>
            <pc:sldMk cId="1254065203" sldId="5471"/>
            <ac:spMk id="8" creationId="{4E2D6B80-5F9E-46F7-B956-CD044025C27D}"/>
          </ac:spMkLst>
        </pc:spChg>
        <pc:spChg chg="add mod">
          <ac:chgData name="Heidi Joanne Bergh-Hoff" userId="b7345d7b-94c6-4195-9161-e0f2b6e92b35" providerId="ADAL" clId="{B6E98990-C04C-4E3D-8F94-682A0079C78C}" dt="2022-01-17T13:10:26.620" v="2436" actId="1035"/>
          <ac:spMkLst>
            <pc:docMk/>
            <pc:sldMk cId="1254065203" sldId="5471"/>
            <ac:spMk id="9" creationId="{FA01477E-52C4-4272-BD02-38A2139FB5D8}"/>
          </ac:spMkLst>
        </pc:spChg>
        <pc:spChg chg="add del mod">
          <ac:chgData name="Heidi Joanne Bergh-Hoff" userId="b7345d7b-94c6-4195-9161-e0f2b6e92b35" providerId="ADAL" clId="{B6E98990-C04C-4E3D-8F94-682A0079C78C}" dt="2022-01-17T12:50:31.935" v="2162" actId="478"/>
          <ac:spMkLst>
            <pc:docMk/>
            <pc:sldMk cId="1254065203" sldId="5471"/>
            <ac:spMk id="10" creationId="{16888711-4B2D-4EA5-A672-B267CE491E7E}"/>
          </ac:spMkLst>
        </pc:spChg>
        <pc:spChg chg="add mod">
          <ac:chgData name="Heidi Joanne Bergh-Hoff" userId="b7345d7b-94c6-4195-9161-e0f2b6e92b35" providerId="ADAL" clId="{B6E98990-C04C-4E3D-8F94-682A0079C78C}" dt="2022-01-17T13:26:14.452" v="2785" actId="1037"/>
          <ac:spMkLst>
            <pc:docMk/>
            <pc:sldMk cId="1254065203" sldId="5471"/>
            <ac:spMk id="11" creationId="{138445D4-38BB-40CB-9BDA-BD95B510EC98}"/>
          </ac:spMkLst>
        </pc:spChg>
        <pc:spChg chg="add mod">
          <ac:chgData name="Heidi Joanne Bergh-Hoff" userId="b7345d7b-94c6-4195-9161-e0f2b6e92b35" providerId="ADAL" clId="{B6E98990-C04C-4E3D-8F94-682A0079C78C}" dt="2022-01-17T13:26:14.452" v="2785" actId="1037"/>
          <ac:spMkLst>
            <pc:docMk/>
            <pc:sldMk cId="1254065203" sldId="5471"/>
            <ac:spMk id="12" creationId="{6095CC04-9533-461C-B482-EFECB697FECA}"/>
          </ac:spMkLst>
        </pc:spChg>
        <pc:spChg chg="add mod">
          <ac:chgData name="Heidi Joanne Bergh-Hoff" userId="b7345d7b-94c6-4195-9161-e0f2b6e92b35" providerId="ADAL" clId="{B6E98990-C04C-4E3D-8F94-682A0079C78C}" dt="2022-01-17T13:26:14.452" v="2785" actId="1037"/>
          <ac:spMkLst>
            <pc:docMk/>
            <pc:sldMk cId="1254065203" sldId="5471"/>
            <ac:spMk id="13" creationId="{8A0F1A01-844B-4983-8698-F09EE719A09E}"/>
          </ac:spMkLst>
        </pc:spChg>
        <pc:spChg chg="add mod">
          <ac:chgData name="Heidi Joanne Bergh-Hoff" userId="b7345d7b-94c6-4195-9161-e0f2b6e92b35" providerId="ADAL" clId="{B6E98990-C04C-4E3D-8F94-682A0079C78C}" dt="2022-01-17T13:24:59.115" v="2691" actId="1038"/>
          <ac:spMkLst>
            <pc:docMk/>
            <pc:sldMk cId="1254065203" sldId="5471"/>
            <ac:spMk id="14" creationId="{B82E0696-3ABF-4139-9C8E-95C4183AC3A0}"/>
          </ac:spMkLst>
        </pc:spChg>
        <pc:spChg chg="add mod">
          <ac:chgData name="Heidi Joanne Bergh-Hoff" userId="b7345d7b-94c6-4195-9161-e0f2b6e92b35" providerId="ADAL" clId="{B6E98990-C04C-4E3D-8F94-682A0079C78C}" dt="2022-01-17T13:10:35.890" v="2442" actId="1076"/>
          <ac:spMkLst>
            <pc:docMk/>
            <pc:sldMk cId="1254065203" sldId="5471"/>
            <ac:spMk id="15" creationId="{4876BE08-8CA3-4AEF-BCCE-BC435EF0C8E7}"/>
          </ac:spMkLst>
        </pc:spChg>
        <pc:spChg chg="add mod">
          <ac:chgData name="Heidi Joanne Bergh-Hoff" userId="b7345d7b-94c6-4195-9161-e0f2b6e92b35" providerId="ADAL" clId="{B6E98990-C04C-4E3D-8F94-682A0079C78C}" dt="2022-01-17T13:16:42.834" v="2486" actId="20577"/>
          <ac:spMkLst>
            <pc:docMk/>
            <pc:sldMk cId="1254065203" sldId="5471"/>
            <ac:spMk id="16" creationId="{D14F069E-E211-4409-8D0F-5299AC374E89}"/>
          </ac:spMkLst>
        </pc:spChg>
        <pc:spChg chg="add mod">
          <ac:chgData name="Heidi Joanne Bergh-Hoff" userId="b7345d7b-94c6-4195-9161-e0f2b6e92b35" providerId="ADAL" clId="{B6E98990-C04C-4E3D-8F94-682A0079C78C}" dt="2022-01-17T13:25:58.355" v="2776" actId="14100"/>
          <ac:spMkLst>
            <pc:docMk/>
            <pc:sldMk cId="1254065203" sldId="5471"/>
            <ac:spMk id="20" creationId="{92F4F4BF-054A-4E8D-8367-39471C9F287B}"/>
          </ac:spMkLst>
        </pc:spChg>
        <pc:spChg chg="add mod">
          <ac:chgData name="Heidi Joanne Bergh-Hoff" userId="b7345d7b-94c6-4195-9161-e0f2b6e92b35" providerId="ADAL" clId="{B6E98990-C04C-4E3D-8F94-682A0079C78C}" dt="2022-01-17T13:19:50.519" v="2644" actId="1037"/>
          <ac:spMkLst>
            <pc:docMk/>
            <pc:sldMk cId="1254065203" sldId="5471"/>
            <ac:spMk id="21" creationId="{CAAADE5C-D009-424B-A42B-608E1945823C}"/>
          </ac:spMkLst>
        </pc:spChg>
        <pc:spChg chg="add mod">
          <ac:chgData name="Heidi Joanne Bergh-Hoff" userId="b7345d7b-94c6-4195-9161-e0f2b6e92b35" providerId="ADAL" clId="{B6E98990-C04C-4E3D-8F94-682A0079C78C}" dt="2022-01-17T13:19:50.519" v="2644" actId="1037"/>
          <ac:spMkLst>
            <pc:docMk/>
            <pc:sldMk cId="1254065203" sldId="5471"/>
            <ac:spMk id="25" creationId="{77F28CCD-CBD4-490B-836E-C908F6F0E164}"/>
          </ac:spMkLst>
        </pc:spChg>
        <pc:spChg chg="add mod">
          <ac:chgData name="Heidi Joanne Bergh-Hoff" userId="b7345d7b-94c6-4195-9161-e0f2b6e92b35" providerId="ADAL" clId="{B6E98990-C04C-4E3D-8F94-682A0079C78C}" dt="2022-01-17T13:19:00.545" v="2620" actId="1038"/>
          <ac:spMkLst>
            <pc:docMk/>
            <pc:sldMk cId="1254065203" sldId="5471"/>
            <ac:spMk id="26" creationId="{9A637188-12C3-4B8A-B0E7-B12136D08BCF}"/>
          </ac:spMkLst>
        </pc:spChg>
        <pc:spChg chg="add mod">
          <ac:chgData name="Heidi Joanne Bergh-Hoff" userId="b7345d7b-94c6-4195-9161-e0f2b6e92b35" providerId="ADAL" clId="{B6E98990-C04C-4E3D-8F94-682A0079C78C}" dt="2022-01-17T13:18:37.945" v="2601" actId="20577"/>
          <ac:spMkLst>
            <pc:docMk/>
            <pc:sldMk cId="1254065203" sldId="5471"/>
            <ac:spMk id="27" creationId="{6C90DB09-FDD4-42DE-ABEB-4CC325D61DDE}"/>
          </ac:spMkLst>
        </pc:spChg>
        <pc:spChg chg="add del mod">
          <ac:chgData name="Heidi Joanne Bergh-Hoff" userId="b7345d7b-94c6-4195-9161-e0f2b6e92b35" providerId="ADAL" clId="{B6E98990-C04C-4E3D-8F94-682A0079C78C}" dt="2022-01-17T13:27:06.914" v="2887" actId="478"/>
          <ac:spMkLst>
            <pc:docMk/>
            <pc:sldMk cId="1254065203" sldId="5471"/>
            <ac:spMk id="28" creationId="{230233FB-A531-4722-9A60-4758E0825F02}"/>
          </ac:spMkLst>
        </pc:spChg>
        <pc:spChg chg="add mod">
          <ac:chgData name="Heidi Joanne Bergh-Hoff" userId="b7345d7b-94c6-4195-9161-e0f2b6e92b35" providerId="ADAL" clId="{B6E98990-C04C-4E3D-8F94-682A0079C78C}" dt="2022-01-17T13:25:15.673" v="2731" actId="20577"/>
          <ac:spMkLst>
            <pc:docMk/>
            <pc:sldMk cId="1254065203" sldId="5471"/>
            <ac:spMk id="29" creationId="{BA954132-A1CE-4BCD-982E-E1B5C840185E}"/>
          </ac:spMkLst>
        </pc:spChg>
        <pc:spChg chg="add mod">
          <ac:chgData name="Heidi Joanne Bergh-Hoff" userId="b7345d7b-94c6-4195-9161-e0f2b6e92b35" providerId="ADAL" clId="{B6E98990-C04C-4E3D-8F94-682A0079C78C}" dt="2022-01-17T13:25:43.029" v="2774" actId="20577"/>
          <ac:spMkLst>
            <pc:docMk/>
            <pc:sldMk cId="1254065203" sldId="5471"/>
            <ac:spMk id="30" creationId="{AC062E59-60D0-4E74-A2FE-4FF6458C231A}"/>
          </ac:spMkLst>
        </pc:spChg>
        <pc:spChg chg="add del mod">
          <ac:chgData name="Heidi Joanne Bergh-Hoff" userId="b7345d7b-94c6-4195-9161-e0f2b6e92b35" providerId="ADAL" clId="{B6E98990-C04C-4E3D-8F94-682A0079C78C}" dt="2022-01-17T13:27:03.867" v="2886" actId="478"/>
          <ac:spMkLst>
            <pc:docMk/>
            <pc:sldMk cId="1254065203" sldId="5471"/>
            <ac:spMk id="31" creationId="{CE7764D5-845F-4100-A630-32425AFC28DA}"/>
          </ac:spMkLst>
        </pc:spChg>
        <pc:picChg chg="del">
          <ac:chgData name="Heidi Joanne Bergh-Hoff" userId="b7345d7b-94c6-4195-9161-e0f2b6e92b35" providerId="ADAL" clId="{B6E98990-C04C-4E3D-8F94-682A0079C78C}" dt="2022-01-17T12:34:10.498" v="1878" actId="478"/>
          <ac:picMkLst>
            <pc:docMk/>
            <pc:sldMk cId="1254065203" sldId="5471"/>
            <ac:picMk id="3" creationId="{637E938B-C166-4B0D-9290-65B737A5359D}"/>
          </ac:picMkLst>
        </pc:picChg>
        <pc:cxnChg chg="add mod">
          <ac:chgData name="Heidi Joanne Bergh-Hoff" userId="b7345d7b-94c6-4195-9161-e0f2b6e92b35" providerId="ADAL" clId="{B6E98990-C04C-4E3D-8F94-682A0079C78C}" dt="2022-01-17T13:10:41.183" v="2451" actId="1037"/>
          <ac:cxnSpMkLst>
            <pc:docMk/>
            <pc:sldMk cId="1254065203" sldId="5471"/>
            <ac:cxnSpMk id="6" creationId="{5B2FEEE9-52B8-48DC-9C0B-A30DDFA9E363}"/>
          </ac:cxnSpMkLst>
        </pc:cxnChg>
        <pc:cxnChg chg="add del">
          <ac:chgData name="Heidi Joanne Bergh-Hoff" userId="b7345d7b-94c6-4195-9161-e0f2b6e92b35" providerId="ADAL" clId="{B6E98990-C04C-4E3D-8F94-682A0079C78C}" dt="2022-01-17T13:11:20.961" v="2453" actId="478"/>
          <ac:cxnSpMkLst>
            <pc:docMk/>
            <pc:sldMk cId="1254065203" sldId="5471"/>
            <ac:cxnSpMk id="19" creationId="{E41FAF27-9823-4997-B847-2EBFF9BAA5FC}"/>
          </ac:cxnSpMkLst>
        </pc:cxnChg>
      </pc:sldChg>
      <pc:sldChg chg="delSp modSp add mod modNotesTx">
        <pc:chgData name="Heidi Joanne Bergh-Hoff" userId="b7345d7b-94c6-4195-9161-e0f2b6e92b35" providerId="ADAL" clId="{B6E98990-C04C-4E3D-8F94-682A0079C78C}" dt="2022-01-19T06:19:21.874" v="5816" actId="20577"/>
        <pc:sldMkLst>
          <pc:docMk/>
          <pc:sldMk cId="253750768" sldId="5472"/>
        </pc:sldMkLst>
        <pc:spChg chg="mod">
          <ac:chgData name="Heidi Joanne Bergh-Hoff" userId="b7345d7b-94c6-4195-9161-e0f2b6e92b35" providerId="ADAL" clId="{B6E98990-C04C-4E3D-8F94-682A0079C78C}" dt="2022-01-17T13:41:35.804" v="3116" actId="1035"/>
          <ac:spMkLst>
            <pc:docMk/>
            <pc:sldMk cId="253750768" sldId="5472"/>
            <ac:spMk id="9" creationId="{FA01477E-52C4-4272-BD02-38A2139FB5D8}"/>
          </ac:spMkLst>
        </pc:spChg>
        <pc:spChg chg="mod">
          <ac:chgData name="Heidi Joanne Bergh-Hoff" userId="b7345d7b-94c6-4195-9161-e0f2b6e92b35" providerId="ADAL" clId="{B6E98990-C04C-4E3D-8F94-682A0079C78C}" dt="2022-01-17T13:41:35.804" v="3116" actId="1035"/>
          <ac:spMkLst>
            <pc:docMk/>
            <pc:sldMk cId="253750768" sldId="5472"/>
            <ac:spMk id="15" creationId="{4876BE08-8CA3-4AEF-BCCE-BC435EF0C8E7}"/>
          </ac:spMkLst>
        </pc:spChg>
        <pc:spChg chg="mod">
          <ac:chgData name="Heidi Joanne Bergh-Hoff" userId="b7345d7b-94c6-4195-9161-e0f2b6e92b35" providerId="ADAL" clId="{B6E98990-C04C-4E3D-8F94-682A0079C78C}" dt="2022-01-17T13:41:35.804" v="3116" actId="1035"/>
          <ac:spMkLst>
            <pc:docMk/>
            <pc:sldMk cId="253750768" sldId="5472"/>
            <ac:spMk id="16" creationId="{D14F069E-E211-4409-8D0F-5299AC374E89}"/>
          </ac:spMkLst>
        </pc:spChg>
        <pc:spChg chg="mod">
          <ac:chgData name="Heidi Joanne Bergh-Hoff" userId="b7345d7b-94c6-4195-9161-e0f2b6e92b35" providerId="ADAL" clId="{B6E98990-C04C-4E3D-8F94-682A0079C78C}" dt="2022-01-17T14:55:04.921" v="3207" actId="14100"/>
          <ac:spMkLst>
            <pc:docMk/>
            <pc:sldMk cId="253750768" sldId="5472"/>
            <ac:spMk id="22" creationId="{4742675F-66BA-41F9-A277-B6A37FCEF7B4}"/>
          </ac:spMkLst>
        </pc:spChg>
        <pc:spChg chg="del">
          <ac:chgData name="Heidi Joanne Bergh-Hoff" userId="b7345d7b-94c6-4195-9161-e0f2b6e92b35" providerId="ADAL" clId="{B6E98990-C04C-4E3D-8F94-682A0079C78C}" dt="2022-01-17T14:55:14.849" v="3210" actId="478"/>
          <ac:spMkLst>
            <pc:docMk/>
            <pc:sldMk cId="253750768" sldId="5472"/>
            <ac:spMk id="28" creationId="{230233FB-A531-4722-9A60-4758E0825F02}"/>
          </ac:spMkLst>
        </pc:spChg>
        <pc:spChg chg="del mod">
          <ac:chgData name="Heidi Joanne Bergh-Hoff" userId="b7345d7b-94c6-4195-9161-e0f2b6e92b35" providerId="ADAL" clId="{B6E98990-C04C-4E3D-8F94-682A0079C78C}" dt="2022-01-17T14:55:17.429" v="3211" actId="478"/>
          <ac:spMkLst>
            <pc:docMk/>
            <pc:sldMk cId="253750768" sldId="5472"/>
            <ac:spMk id="31" creationId="{CE7764D5-845F-4100-A630-32425AFC28DA}"/>
          </ac:spMkLst>
        </pc:spChg>
      </pc:sldChg>
      <pc:sldChg chg="addSp modSp add del mod">
        <pc:chgData name="Heidi Joanne Bergh-Hoff" userId="b7345d7b-94c6-4195-9161-e0f2b6e92b35" providerId="ADAL" clId="{B6E98990-C04C-4E3D-8F94-682A0079C78C}" dt="2022-01-17T13:26:55.971" v="2884" actId="47"/>
        <pc:sldMkLst>
          <pc:docMk/>
          <pc:sldMk cId="1681077307" sldId="5472"/>
        </pc:sldMkLst>
        <pc:spChg chg="add mod">
          <ac:chgData name="Heidi Joanne Bergh-Hoff" userId="b7345d7b-94c6-4195-9161-e0f2b6e92b35" providerId="ADAL" clId="{B6E98990-C04C-4E3D-8F94-682A0079C78C}" dt="2022-01-17T13:21:37.359" v="2673" actId="1036"/>
          <ac:spMkLst>
            <pc:docMk/>
            <pc:sldMk cId="1681077307" sldId="5472"/>
            <ac:spMk id="3" creationId="{6BC37B59-1176-4D46-9F3B-94A37EDD9A7A}"/>
          </ac:spMkLst>
        </pc:spChg>
        <pc:spChg chg="mod">
          <ac:chgData name="Heidi Joanne Bergh-Hoff" userId="b7345d7b-94c6-4195-9161-e0f2b6e92b35" providerId="ADAL" clId="{B6E98990-C04C-4E3D-8F94-682A0079C78C}" dt="2022-01-17T13:21:25.486" v="2666" actId="2085"/>
          <ac:spMkLst>
            <pc:docMk/>
            <pc:sldMk cId="1681077307" sldId="5472"/>
            <ac:spMk id="20" creationId="{92F4F4BF-054A-4E8D-8367-39471C9F287B}"/>
          </ac:spMkLst>
        </pc:spChg>
        <pc:spChg chg="add mod">
          <ac:chgData name="Heidi Joanne Bergh-Hoff" userId="b7345d7b-94c6-4195-9161-e0f2b6e92b35" providerId="ADAL" clId="{B6E98990-C04C-4E3D-8F94-682A0079C78C}" dt="2022-01-17T13:21:44.536" v="2675" actId="1076"/>
          <ac:spMkLst>
            <pc:docMk/>
            <pc:sldMk cId="1681077307" sldId="5472"/>
            <ac:spMk id="28" creationId="{A8881059-2226-4ED1-ABF6-9BF8C0AF4E26}"/>
          </ac:spMkLst>
        </pc:spChg>
      </pc:sldChg>
      <pc:sldChg chg="delSp modSp add del mod">
        <pc:chgData name="Heidi Joanne Bergh-Hoff" userId="b7345d7b-94c6-4195-9161-e0f2b6e92b35" providerId="ADAL" clId="{B6E98990-C04C-4E3D-8F94-682A0079C78C}" dt="2022-01-17T14:55:07.484" v="3208" actId="47"/>
        <pc:sldMkLst>
          <pc:docMk/>
          <pc:sldMk cId="495802399" sldId="5473"/>
        </pc:sldMkLst>
        <pc:spChg chg="mod">
          <ac:chgData name="Heidi Joanne Bergh-Hoff" userId="b7345d7b-94c6-4195-9161-e0f2b6e92b35" providerId="ADAL" clId="{B6E98990-C04C-4E3D-8F94-682A0079C78C}" dt="2022-01-17T13:41:59.961" v="3120" actId="1076"/>
          <ac:spMkLst>
            <pc:docMk/>
            <pc:sldMk cId="495802399" sldId="5473"/>
            <ac:spMk id="4" creationId="{E5AD8692-4CF0-4865-8D46-E1C4C16F616F}"/>
          </ac:spMkLst>
        </pc:spChg>
        <pc:spChg chg="mod">
          <ac:chgData name="Heidi Joanne Bergh-Hoff" userId="b7345d7b-94c6-4195-9161-e0f2b6e92b35" providerId="ADAL" clId="{B6E98990-C04C-4E3D-8F94-682A0079C78C}" dt="2022-01-17T14:54:48.347" v="3205" actId="14100"/>
          <ac:spMkLst>
            <pc:docMk/>
            <pc:sldMk cId="495802399" sldId="5473"/>
            <ac:spMk id="22" creationId="{4742675F-66BA-41F9-A277-B6A37FCEF7B4}"/>
          </ac:spMkLst>
        </pc:spChg>
        <pc:spChg chg="del">
          <ac:chgData name="Heidi Joanne Bergh-Hoff" userId="b7345d7b-94c6-4195-9161-e0f2b6e92b35" providerId="ADAL" clId="{B6E98990-C04C-4E3D-8F94-682A0079C78C}" dt="2022-01-17T13:41:54.814" v="3119" actId="478"/>
          <ac:spMkLst>
            <pc:docMk/>
            <pc:sldMk cId="495802399" sldId="5473"/>
            <ac:spMk id="28" creationId="{230233FB-A531-4722-9A60-4758E0825F02}"/>
          </ac:spMkLst>
        </pc:spChg>
        <pc:spChg chg="del">
          <ac:chgData name="Heidi Joanne Bergh-Hoff" userId="b7345d7b-94c6-4195-9161-e0f2b6e92b35" providerId="ADAL" clId="{B6E98990-C04C-4E3D-8F94-682A0079C78C}" dt="2022-01-17T13:42:02.239" v="3121" actId="478"/>
          <ac:spMkLst>
            <pc:docMk/>
            <pc:sldMk cId="495802399" sldId="5473"/>
            <ac:spMk id="31" creationId="{CE7764D5-845F-4100-A630-32425AFC28DA}"/>
          </ac:spMkLst>
        </pc:spChg>
      </pc:sldChg>
      <pc:sldChg chg="modSp mod">
        <pc:chgData name="Heidi Joanne Bergh-Hoff" userId="b7345d7b-94c6-4195-9161-e0f2b6e92b35" providerId="ADAL" clId="{B6E98990-C04C-4E3D-8F94-682A0079C78C}" dt="2022-01-18T07:09:15.026" v="3995" actId="20577"/>
        <pc:sldMkLst>
          <pc:docMk/>
          <pc:sldMk cId="2666937909" sldId="5474"/>
        </pc:sldMkLst>
        <pc:spChg chg="mod">
          <ac:chgData name="Heidi Joanne Bergh-Hoff" userId="b7345d7b-94c6-4195-9161-e0f2b6e92b35" providerId="ADAL" clId="{B6E98990-C04C-4E3D-8F94-682A0079C78C}" dt="2022-01-18T07:09:15.026" v="3995" actId="20577"/>
          <ac:spMkLst>
            <pc:docMk/>
            <pc:sldMk cId="2666937909" sldId="5474"/>
            <ac:spMk id="3" creationId="{8FC8B1A4-DECC-4D13-9969-1C7E0C40379F}"/>
          </ac:spMkLst>
        </pc:spChg>
      </pc:sldChg>
      <pc:sldChg chg="add modNotesTx">
        <pc:chgData name="Heidi Joanne Bergh-Hoff" userId="b7345d7b-94c6-4195-9161-e0f2b6e92b35" providerId="ADAL" clId="{B6E98990-C04C-4E3D-8F94-682A0079C78C}" dt="2022-01-18T13:01:50.328" v="5060"/>
        <pc:sldMkLst>
          <pc:docMk/>
          <pc:sldMk cId="859613881" sldId="5475"/>
        </pc:sldMkLst>
      </pc:sldChg>
      <pc:sldChg chg="addSp delSp modSp add mod modNotesTx">
        <pc:chgData name="Heidi Joanne Bergh-Hoff" userId="b7345d7b-94c6-4195-9161-e0f2b6e92b35" providerId="ADAL" clId="{B6E98990-C04C-4E3D-8F94-682A0079C78C}" dt="2022-01-19T07:04:25.485" v="5871" actId="20577"/>
        <pc:sldMkLst>
          <pc:docMk/>
          <pc:sldMk cId="2466202105" sldId="5477"/>
        </pc:sldMkLst>
        <pc:spChg chg="del">
          <ac:chgData name="Heidi Joanne Bergh-Hoff" userId="b7345d7b-94c6-4195-9161-e0f2b6e92b35" providerId="ADAL" clId="{B6E98990-C04C-4E3D-8F94-682A0079C78C}" dt="2022-01-18T08:51:08.426" v="3997" actId="478"/>
          <ac:spMkLst>
            <pc:docMk/>
            <pc:sldMk cId="2466202105" sldId="5477"/>
            <ac:spMk id="4" creationId="{AEA24DD1-50FA-45C9-BF16-E3D73EBA5714}"/>
          </ac:spMkLst>
        </pc:spChg>
        <pc:spChg chg="mod">
          <ac:chgData name="Heidi Joanne Bergh-Hoff" userId="b7345d7b-94c6-4195-9161-e0f2b6e92b35" providerId="ADAL" clId="{B6E98990-C04C-4E3D-8F94-682A0079C78C}" dt="2022-01-18T10:14:23.402" v="5022" actId="1037"/>
          <ac:spMkLst>
            <pc:docMk/>
            <pc:sldMk cId="2466202105" sldId="5477"/>
            <ac:spMk id="6" creationId="{9F1718DB-3A17-4DEA-8F88-EED406DB2770}"/>
          </ac:spMkLst>
        </pc:spChg>
        <pc:spChg chg="mod">
          <ac:chgData name="Heidi Joanne Bergh-Hoff" userId="b7345d7b-94c6-4195-9161-e0f2b6e92b35" providerId="ADAL" clId="{B6E98990-C04C-4E3D-8F94-682A0079C78C}" dt="2022-01-18T10:14:23.402" v="5022" actId="1037"/>
          <ac:spMkLst>
            <pc:docMk/>
            <pc:sldMk cId="2466202105" sldId="5477"/>
            <ac:spMk id="8" creationId="{15311062-F916-4655-A753-E23CF392F28E}"/>
          </ac:spMkLst>
        </pc:spChg>
        <pc:spChg chg="del">
          <ac:chgData name="Heidi Joanne Bergh-Hoff" userId="b7345d7b-94c6-4195-9161-e0f2b6e92b35" providerId="ADAL" clId="{B6E98990-C04C-4E3D-8F94-682A0079C78C}" dt="2022-01-18T08:51:08.426" v="3997" actId="478"/>
          <ac:spMkLst>
            <pc:docMk/>
            <pc:sldMk cId="2466202105" sldId="5477"/>
            <ac:spMk id="9" creationId="{61A7F8C0-67B0-4012-83CB-DD7535BF0670}"/>
          </ac:spMkLst>
        </pc:spChg>
        <pc:spChg chg="mod">
          <ac:chgData name="Heidi Joanne Bergh-Hoff" userId="b7345d7b-94c6-4195-9161-e0f2b6e92b35" providerId="ADAL" clId="{B6E98990-C04C-4E3D-8F94-682A0079C78C}" dt="2022-01-18T10:14:23.402" v="5022" actId="1037"/>
          <ac:spMkLst>
            <pc:docMk/>
            <pc:sldMk cId="2466202105" sldId="5477"/>
            <ac:spMk id="10" creationId="{287D29C8-8559-4B25-B0D9-840694667EC8}"/>
          </ac:spMkLst>
        </pc:spChg>
        <pc:spChg chg="mod">
          <ac:chgData name="Heidi Joanne Bergh-Hoff" userId="b7345d7b-94c6-4195-9161-e0f2b6e92b35" providerId="ADAL" clId="{B6E98990-C04C-4E3D-8F94-682A0079C78C}" dt="2022-01-18T10:14:23.402" v="5022" actId="1037"/>
          <ac:spMkLst>
            <pc:docMk/>
            <pc:sldMk cId="2466202105" sldId="5477"/>
            <ac:spMk id="11" creationId="{1BFF03A8-1AA4-48D3-A7E0-5D7CDBDBA927}"/>
          </ac:spMkLst>
        </pc:spChg>
        <pc:spChg chg="add mod">
          <ac:chgData name="Heidi Joanne Bergh-Hoff" userId="b7345d7b-94c6-4195-9161-e0f2b6e92b35" providerId="ADAL" clId="{B6E98990-C04C-4E3D-8F94-682A0079C78C}" dt="2022-01-18T10:14:23.402" v="5022" actId="1037"/>
          <ac:spMkLst>
            <pc:docMk/>
            <pc:sldMk cId="2466202105" sldId="5477"/>
            <ac:spMk id="12" creationId="{ADDD2B99-FA16-4178-A1C6-60A9A7700608}"/>
          </ac:spMkLst>
        </pc:spChg>
        <pc:spChg chg="add mod">
          <ac:chgData name="Heidi Joanne Bergh-Hoff" userId="b7345d7b-94c6-4195-9161-e0f2b6e92b35" providerId="ADAL" clId="{B6E98990-C04C-4E3D-8F94-682A0079C78C}" dt="2022-01-18T10:14:23.402" v="5022" actId="1037"/>
          <ac:spMkLst>
            <pc:docMk/>
            <pc:sldMk cId="2466202105" sldId="5477"/>
            <ac:spMk id="13" creationId="{D2C9C0A9-4F30-4A6F-9D9A-BC5F6E3D0BAD}"/>
          </ac:spMkLst>
        </pc:spChg>
        <pc:spChg chg="mod">
          <ac:chgData name="Heidi Joanne Bergh-Hoff" userId="b7345d7b-94c6-4195-9161-e0f2b6e92b35" providerId="ADAL" clId="{B6E98990-C04C-4E3D-8F94-682A0079C78C}" dt="2022-01-18T13:34:32.003" v="5226" actId="20577"/>
          <ac:spMkLst>
            <pc:docMk/>
            <pc:sldMk cId="2466202105" sldId="5477"/>
            <ac:spMk id="17" creationId="{FFA01300-FFFB-4E2F-8399-7ACF2234CCFA}"/>
          </ac:spMkLst>
        </pc:spChg>
        <pc:picChg chg="del">
          <ac:chgData name="Heidi Joanne Bergh-Hoff" userId="b7345d7b-94c6-4195-9161-e0f2b6e92b35" providerId="ADAL" clId="{B6E98990-C04C-4E3D-8F94-682A0079C78C}" dt="2022-01-18T08:51:08.426" v="3997" actId="478"/>
          <ac:picMkLst>
            <pc:docMk/>
            <pc:sldMk cId="2466202105" sldId="5477"/>
            <ac:picMk id="3" creationId="{C64745D8-3F2D-47BC-9E97-D33537FAE7A4}"/>
          </ac:picMkLst>
        </pc:picChg>
        <pc:picChg chg="mod">
          <ac:chgData name="Heidi Joanne Bergh-Hoff" userId="b7345d7b-94c6-4195-9161-e0f2b6e92b35" providerId="ADAL" clId="{B6E98990-C04C-4E3D-8F94-682A0079C78C}" dt="2022-01-18T10:14:23.402" v="5022" actId="1037"/>
          <ac:picMkLst>
            <pc:docMk/>
            <pc:sldMk cId="2466202105" sldId="5477"/>
            <ac:picMk id="5" creationId="{C30F1780-79DE-4889-BCEB-89991B5990B3}"/>
          </ac:picMkLst>
        </pc:picChg>
        <pc:picChg chg="mod">
          <ac:chgData name="Heidi Joanne Bergh-Hoff" userId="b7345d7b-94c6-4195-9161-e0f2b6e92b35" providerId="ADAL" clId="{B6E98990-C04C-4E3D-8F94-682A0079C78C}" dt="2022-01-18T10:14:23.402" v="5022" actId="1037"/>
          <ac:picMkLst>
            <pc:docMk/>
            <pc:sldMk cId="2466202105" sldId="5477"/>
            <ac:picMk id="7" creationId="{156C15C4-0AE3-4297-A8FF-15CB59AC340F}"/>
          </ac:picMkLst>
        </pc:picChg>
      </pc:sldChg>
      <pc:sldChg chg="modSp new del mod">
        <pc:chgData name="Heidi Joanne Bergh-Hoff" userId="b7345d7b-94c6-4195-9161-e0f2b6e92b35" providerId="ADAL" clId="{B6E98990-C04C-4E3D-8F94-682A0079C78C}" dt="2022-01-18T09:06:53.716" v="4426" actId="47"/>
        <pc:sldMkLst>
          <pc:docMk/>
          <pc:sldMk cId="1832301284" sldId="5478"/>
        </pc:sldMkLst>
        <pc:spChg chg="mod">
          <ac:chgData name="Heidi Joanne Bergh-Hoff" userId="b7345d7b-94c6-4195-9161-e0f2b6e92b35" providerId="ADAL" clId="{B6E98990-C04C-4E3D-8F94-682A0079C78C}" dt="2022-01-18T09:04:16.144" v="4423" actId="20577"/>
          <ac:spMkLst>
            <pc:docMk/>
            <pc:sldMk cId="1832301284" sldId="5478"/>
            <ac:spMk id="2" creationId="{9EF0D70A-FEBC-4B25-908E-1068CF82C79B}"/>
          </ac:spMkLst>
        </pc:spChg>
      </pc:sldChg>
      <pc:sldChg chg="delSp modSp new del mod">
        <pc:chgData name="Heidi Joanne Bergh-Hoff" userId="b7345d7b-94c6-4195-9161-e0f2b6e92b35" providerId="ADAL" clId="{B6E98990-C04C-4E3D-8F94-682A0079C78C}" dt="2022-01-18T13:12:13.514" v="5126" actId="47"/>
        <pc:sldMkLst>
          <pc:docMk/>
          <pc:sldMk cId="1105520377" sldId="5479"/>
        </pc:sldMkLst>
        <pc:spChg chg="mod">
          <ac:chgData name="Heidi Joanne Bergh-Hoff" userId="b7345d7b-94c6-4195-9161-e0f2b6e92b35" providerId="ADAL" clId="{B6E98990-C04C-4E3D-8F94-682A0079C78C}" dt="2022-01-18T13:10:58.753" v="5120" actId="20577"/>
          <ac:spMkLst>
            <pc:docMk/>
            <pc:sldMk cId="1105520377" sldId="5479"/>
            <ac:spMk id="2" creationId="{3128F862-2847-447F-B522-3C5EDD810976}"/>
          </ac:spMkLst>
        </pc:spChg>
        <pc:spChg chg="del mod">
          <ac:chgData name="Heidi Joanne Bergh-Hoff" userId="b7345d7b-94c6-4195-9161-e0f2b6e92b35" providerId="ADAL" clId="{B6E98990-C04C-4E3D-8F94-682A0079C78C}" dt="2022-01-18T13:11:03.996" v="5121" actId="478"/>
          <ac:spMkLst>
            <pc:docMk/>
            <pc:sldMk cId="1105520377" sldId="5479"/>
            <ac:spMk id="3" creationId="{40C96878-ADCA-49E7-A32C-AEEFF3D8C914}"/>
          </ac:spMkLst>
        </pc:spChg>
      </pc:sldChg>
      <pc:sldChg chg="new del">
        <pc:chgData name="Heidi Joanne Bergh-Hoff" userId="b7345d7b-94c6-4195-9161-e0f2b6e92b35" providerId="ADAL" clId="{B6E98990-C04C-4E3D-8F94-682A0079C78C}" dt="2022-01-18T13:12:12.052" v="5125" actId="47"/>
        <pc:sldMkLst>
          <pc:docMk/>
          <pc:sldMk cId="3295210702" sldId="5480"/>
        </pc:sldMkLst>
      </pc:sldChg>
      <pc:sldChg chg="modSp new del mod">
        <pc:chgData name="Heidi Joanne Bergh-Hoff" userId="b7345d7b-94c6-4195-9161-e0f2b6e92b35" providerId="ADAL" clId="{B6E98990-C04C-4E3D-8F94-682A0079C78C}" dt="2022-01-18T13:23:08.450" v="5183" actId="47"/>
        <pc:sldMkLst>
          <pc:docMk/>
          <pc:sldMk cId="3519706816" sldId="5481"/>
        </pc:sldMkLst>
        <pc:spChg chg="mod">
          <ac:chgData name="Heidi Joanne Bergh-Hoff" userId="b7345d7b-94c6-4195-9161-e0f2b6e92b35" providerId="ADAL" clId="{B6E98990-C04C-4E3D-8F94-682A0079C78C}" dt="2022-01-18T13:12:03.372" v="5124"/>
          <ac:spMkLst>
            <pc:docMk/>
            <pc:sldMk cId="3519706816" sldId="5481"/>
            <ac:spMk id="2" creationId="{12D3E6F7-A7DC-479A-90CB-A93C4B2BFDB2}"/>
          </ac:spMkLst>
        </pc:spChg>
      </pc:sldChg>
      <pc:sldChg chg="new del">
        <pc:chgData name="Heidi Joanne Bergh-Hoff" userId="b7345d7b-94c6-4195-9161-e0f2b6e92b35" providerId="ADAL" clId="{B6E98990-C04C-4E3D-8F94-682A0079C78C}" dt="2022-01-18T13:23:15.611" v="5184" actId="47"/>
        <pc:sldMkLst>
          <pc:docMk/>
          <pc:sldMk cId="2412838356" sldId="5482"/>
        </pc:sldMkLst>
      </pc:sldChg>
      <pc:sldChg chg="new del">
        <pc:chgData name="Heidi Joanne Bergh-Hoff" userId="b7345d7b-94c6-4195-9161-e0f2b6e92b35" providerId="ADAL" clId="{B6E98990-C04C-4E3D-8F94-682A0079C78C}" dt="2022-01-18T13:13:53.156" v="5129" actId="47"/>
        <pc:sldMkLst>
          <pc:docMk/>
          <pc:sldMk cId="636034569" sldId="5483"/>
        </pc:sldMkLst>
      </pc:sldChg>
      <pc:sldChg chg="addSp delSp modSp new mod modNotesTx">
        <pc:chgData name="Heidi Joanne Bergh-Hoff" userId="b7345d7b-94c6-4195-9161-e0f2b6e92b35" providerId="ADAL" clId="{B6E98990-C04C-4E3D-8F94-682A0079C78C}" dt="2022-01-18T19:52:28.102" v="5590" actId="20577"/>
        <pc:sldMkLst>
          <pc:docMk/>
          <pc:sldMk cId="1962783403" sldId="5483"/>
        </pc:sldMkLst>
        <pc:spChg chg="del">
          <ac:chgData name="Heidi Joanne Bergh-Hoff" userId="b7345d7b-94c6-4195-9161-e0f2b6e92b35" providerId="ADAL" clId="{B6E98990-C04C-4E3D-8F94-682A0079C78C}" dt="2022-01-18T13:20:37.130" v="5135" actId="478"/>
          <ac:spMkLst>
            <pc:docMk/>
            <pc:sldMk cId="1962783403" sldId="5483"/>
            <ac:spMk id="2" creationId="{4FD3EF76-78F9-4322-A68F-85F6F2BADB1F}"/>
          </ac:spMkLst>
        </pc:spChg>
        <pc:spChg chg="mod ord">
          <ac:chgData name="Heidi Joanne Bergh-Hoff" userId="b7345d7b-94c6-4195-9161-e0f2b6e92b35" providerId="ADAL" clId="{B6E98990-C04C-4E3D-8F94-682A0079C78C}" dt="2022-01-18T13:45:13.865" v="5280" actId="166"/>
          <ac:spMkLst>
            <pc:docMk/>
            <pc:sldMk cId="1962783403" sldId="5483"/>
            <ac:spMk id="3" creationId="{BBCC4373-947F-4AD9-BB9F-48A64DED9E8B}"/>
          </ac:spMkLst>
        </pc:spChg>
        <pc:spChg chg="del">
          <ac:chgData name="Heidi Joanne Bergh-Hoff" userId="b7345d7b-94c6-4195-9161-e0f2b6e92b35" providerId="ADAL" clId="{B6E98990-C04C-4E3D-8F94-682A0079C78C}" dt="2022-01-18T13:14:46.413" v="5133" actId="478"/>
          <ac:spMkLst>
            <pc:docMk/>
            <pc:sldMk cId="1962783403" sldId="5483"/>
            <ac:spMk id="4" creationId="{6548CD7F-B8D1-40E9-8B78-1579A38A3367}"/>
          </ac:spMkLst>
        </pc:spChg>
        <pc:spChg chg="add del mod">
          <ac:chgData name="Heidi Joanne Bergh-Hoff" userId="b7345d7b-94c6-4195-9161-e0f2b6e92b35" providerId="ADAL" clId="{B6E98990-C04C-4E3D-8F94-682A0079C78C}" dt="2022-01-18T13:27:44.560" v="5207" actId="478"/>
          <ac:spMkLst>
            <pc:docMk/>
            <pc:sldMk cId="1962783403" sldId="5483"/>
            <ac:spMk id="7" creationId="{813A268F-16DD-4A83-8C3D-EF7314D51637}"/>
          </ac:spMkLst>
        </pc:spChg>
        <pc:picChg chg="add del mod">
          <ac:chgData name="Heidi Joanne Bergh-Hoff" userId="b7345d7b-94c6-4195-9161-e0f2b6e92b35" providerId="ADAL" clId="{B6E98990-C04C-4E3D-8F94-682A0079C78C}" dt="2022-01-18T13:40:41.088" v="5227" actId="478"/>
          <ac:picMkLst>
            <pc:docMk/>
            <pc:sldMk cId="1962783403" sldId="5483"/>
            <ac:picMk id="6" creationId="{FA8C7D1B-297B-4FE7-B6F1-50EDFBE0F98F}"/>
          </ac:picMkLst>
        </pc:picChg>
        <pc:picChg chg="add del mod">
          <ac:chgData name="Heidi Joanne Bergh-Hoff" userId="b7345d7b-94c6-4195-9161-e0f2b6e92b35" providerId="ADAL" clId="{B6E98990-C04C-4E3D-8F94-682A0079C78C}" dt="2022-01-18T13:43:57.257" v="5242" actId="478"/>
          <ac:picMkLst>
            <pc:docMk/>
            <pc:sldMk cId="1962783403" sldId="5483"/>
            <ac:picMk id="9" creationId="{B39A2868-23D1-452F-B572-18F725F54F6B}"/>
          </ac:picMkLst>
        </pc:picChg>
        <pc:picChg chg="add mod">
          <ac:chgData name="Heidi Joanne Bergh-Hoff" userId="b7345d7b-94c6-4195-9161-e0f2b6e92b35" providerId="ADAL" clId="{B6E98990-C04C-4E3D-8F94-682A0079C78C}" dt="2022-01-18T13:45:21.928" v="5293" actId="1038"/>
          <ac:picMkLst>
            <pc:docMk/>
            <pc:sldMk cId="1962783403" sldId="5483"/>
            <ac:picMk id="11" creationId="{1AB061B6-7D6D-4945-9555-331C5AF63147}"/>
          </ac:picMkLst>
        </pc:picChg>
      </pc:sldChg>
      <pc:sldChg chg="addSp modSp new del mod">
        <pc:chgData name="Heidi Joanne Bergh-Hoff" userId="b7345d7b-94c6-4195-9161-e0f2b6e92b35" providerId="ADAL" clId="{B6E98990-C04C-4E3D-8F94-682A0079C78C}" dt="2022-01-18T13:23:27.943" v="5185" actId="47"/>
        <pc:sldMkLst>
          <pc:docMk/>
          <pc:sldMk cId="2801775888" sldId="5484"/>
        </pc:sldMkLst>
        <pc:spChg chg="mod">
          <ac:chgData name="Heidi Joanne Bergh-Hoff" userId="b7345d7b-94c6-4195-9161-e0f2b6e92b35" providerId="ADAL" clId="{B6E98990-C04C-4E3D-8F94-682A0079C78C}" dt="2022-01-18T13:22:03.567" v="5144"/>
          <ac:spMkLst>
            <pc:docMk/>
            <pc:sldMk cId="2801775888" sldId="5484"/>
            <ac:spMk id="2" creationId="{2382F1B3-FD4A-4821-AF55-FD0E6A7244A1}"/>
          </ac:spMkLst>
        </pc:spChg>
        <pc:picChg chg="add mod">
          <ac:chgData name="Heidi Joanne Bergh-Hoff" userId="b7345d7b-94c6-4195-9161-e0f2b6e92b35" providerId="ADAL" clId="{B6E98990-C04C-4E3D-8F94-682A0079C78C}" dt="2022-01-18T13:22:33.584" v="5182" actId="1037"/>
          <ac:picMkLst>
            <pc:docMk/>
            <pc:sldMk cId="2801775888" sldId="5484"/>
            <ac:picMk id="5" creationId="{2B08F81D-A1F7-4B7E-9EE3-76BFF8ACAD93}"/>
          </ac:picMkLst>
        </pc:picChg>
      </pc:sldChg>
      <pc:sldChg chg="modSp add mod">
        <pc:chgData name="Heidi Joanne Bergh-Hoff" userId="b7345d7b-94c6-4195-9161-e0f2b6e92b35" providerId="ADAL" clId="{B6E98990-C04C-4E3D-8F94-682A0079C78C}" dt="2022-01-18T13:31:38.741" v="5214" actId="255"/>
        <pc:sldMkLst>
          <pc:docMk/>
          <pc:sldMk cId="3567551114" sldId="5484"/>
        </pc:sldMkLst>
        <pc:spChg chg="mod">
          <ac:chgData name="Heidi Joanne Bergh-Hoff" userId="b7345d7b-94c6-4195-9161-e0f2b6e92b35" providerId="ADAL" clId="{B6E98990-C04C-4E3D-8F94-682A0079C78C}" dt="2022-01-18T13:31:38.741" v="5214" actId="255"/>
          <ac:spMkLst>
            <pc:docMk/>
            <pc:sldMk cId="3567551114" sldId="5484"/>
            <ac:spMk id="2" creationId="{7C8A331D-91CE-4C5E-AE53-01C12CB5F8B4}"/>
          </ac:spMkLst>
        </pc:spChg>
      </pc:sldChg>
    </pc:docChg>
  </pc:docChgLst>
  <pc:docChgLst>
    <pc:chgData name="Per Hovde" userId="336a567d-735c-4805-ba8e-b6f07afebca7" providerId="ADAL" clId="{3182FA5A-226F-4647-A328-C834339E6962}"/>
    <pc:docChg chg="undo custSel addSld delSld modSld sldOrd">
      <pc:chgData name="Per Hovde" userId="336a567d-735c-4805-ba8e-b6f07afebca7" providerId="ADAL" clId="{3182FA5A-226F-4647-A328-C834339E6962}" dt="2022-01-19T07:29:56.897" v="2668" actId="20577"/>
      <pc:docMkLst>
        <pc:docMk/>
      </pc:docMkLst>
      <pc:sldChg chg="addSp delSp modSp mod chgLayout">
        <pc:chgData name="Per Hovde" userId="336a567d-735c-4805-ba8e-b6f07afebca7" providerId="ADAL" clId="{3182FA5A-226F-4647-A328-C834339E6962}" dt="2022-01-17T13:44:32.612" v="417" actId="1076"/>
        <pc:sldMkLst>
          <pc:docMk/>
          <pc:sldMk cId="1487953720" sldId="1002"/>
        </pc:sldMkLst>
        <pc:spChg chg="mod ord">
          <ac:chgData name="Per Hovde" userId="336a567d-735c-4805-ba8e-b6f07afebca7" providerId="ADAL" clId="{3182FA5A-226F-4647-A328-C834339E6962}" dt="2022-01-17T13:44:32.612" v="417" actId="1076"/>
          <ac:spMkLst>
            <pc:docMk/>
            <pc:sldMk cId="1487953720" sldId="1002"/>
            <ac:spMk id="2" creationId="{7C8A331D-91CE-4C5E-AE53-01C12CB5F8B4}"/>
          </ac:spMkLst>
        </pc:spChg>
        <pc:spChg chg="mod">
          <ac:chgData name="Per Hovde" userId="336a567d-735c-4805-ba8e-b6f07afebca7" providerId="ADAL" clId="{3182FA5A-226F-4647-A328-C834339E6962}" dt="2022-01-17T13:44:23.525" v="415" actId="1037"/>
          <ac:spMkLst>
            <pc:docMk/>
            <pc:sldMk cId="1487953720" sldId="1002"/>
            <ac:spMk id="3" creationId="{289F7C07-763F-4056-BE1F-77E418CDE7FE}"/>
          </ac:spMkLst>
        </pc:spChg>
        <pc:spChg chg="mod ord">
          <ac:chgData name="Per Hovde" userId="336a567d-735c-4805-ba8e-b6f07afebca7" providerId="ADAL" clId="{3182FA5A-226F-4647-A328-C834339E6962}" dt="2022-01-17T13:26:47.756" v="75" actId="20577"/>
          <ac:spMkLst>
            <pc:docMk/>
            <pc:sldMk cId="1487953720" sldId="1002"/>
            <ac:spMk id="6" creationId="{3DB7085E-57A7-44C2-A738-AA84AF131D12}"/>
          </ac:spMkLst>
        </pc:spChg>
        <pc:spChg chg="add del">
          <ac:chgData name="Per Hovde" userId="336a567d-735c-4805-ba8e-b6f07afebca7" providerId="ADAL" clId="{3182FA5A-226F-4647-A328-C834339E6962}" dt="2022-01-17T13:25:16.965" v="2" actId="11529"/>
          <ac:spMkLst>
            <pc:docMk/>
            <pc:sldMk cId="1487953720" sldId="1002"/>
            <ac:spMk id="7" creationId="{4DD0ED21-A684-4BC1-92C5-EC9E1EA7CA61}"/>
          </ac:spMkLst>
        </pc:spChg>
      </pc:sldChg>
      <pc:sldChg chg="ord modNotesTx">
        <pc:chgData name="Per Hovde" userId="336a567d-735c-4805-ba8e-b6f07afebca7" providerId="ADAL" clId="{3182FA5A-226F-4647-A328-C834339E6962}" dt="2022-01-19T07:02:05.752" v="2458"/>
        <pc:sldMkLst>
          <pc:docMk/>
          <pc:sldMk cId="2822831896" sldId="5202"/>
        </pc:sldMkLst>
      </pc:sldChg>
      <pc:sldChg chg="modSp mod modNotesTx">
        <pc:chgData name="Per Hovde" userId="336a567d-735c-4805-ba8e-b6f07afebca7" providerId="ADAL" clId="{3182FA5A-226F-4647-A328-C834339E6962}" dt="2022-01-18T12:06:31.365" v="2373" actId="20577"/>
        <pc:sldMkLst>
          <pc:docMk/>
          <pc:sldMk cId="737702759" sldId="5363"/>
        </pc:sldMkLst>
        <pc:spChg chg="mod">
          <ac:chgData name="Per Hovde" userId="336a567d-735c-4805-ba8e-b6f07afebca7" providerId="ADAL" clId="{3182FA5A-226F-4647-A328-C834339E6962}" dt="2022-01-18T09:30:22.562" v="1475" actId="20577"/>
          <ac:spMkLst>
            <pc:docMk/>
            <pc:sldMk cId="737702759" sldId="5363"/>
            <ac:spMk id="6" creationId="{FE6FAE74-E174-4FC9-AD55-E898E2DFBAFF}"/>
          </ac:spMkLst>
        </pc:spChg>
      </pc:sldChg>
      <pc:sldChg chg="modNotesTx">
        <pc:chgData name="Per Hovde" userId="336a567d-735c-4805-ba8e-b6f07afebca7" providerId="ADAL" clId="{3182FA5A-226F-4647-A328-C834339E6962}" dt="2022-01-18T10:25:04.151" v="2275" actId="20577"/>
        <pc:sldMkLst>
          <pc:docMk/>
          <pc:sldMk cId="2463805874" sldId="5364"/>
        </pc:sldMkLst>
      </pc:sldChg>
      <pc:sldChg chg="modSp mod">
        <pc:chgData name="Per Hovde" userId="336a567d-735c-4805-ba8e-b6f07afebca7" providerId="ADAL" clId="{3182FA5A-226F-4647-A328-C834339E6962}" dt="2022-01-18T09:30:44.618" v="1476"/>
        <pc:sldMkLst>
          <pc:docMk/>
          <pc:sldMk cId="305355944" sldId="5366"/>
        </pc:sldMkLst>
        <pc:spChg chg="mod">
          <ac:chgData name="Per Hovde" userId="336a567d-735c-4805-ba8e-b6f07afebca7" providerId="ADAL" clId="{3182FA5A-226F-4647-A328-C834339E6962}" dt="2022-01-18T09:30:44.618" v="1476"/>
          <ac:spMkLst>
            <pc:docMk/>
            <pc:sldMk cId="305355944" sldId="5366"/>
            <ac:spMk id="6" creationId="{FE6FAE74-E174-4FC9-AD55-E898E2DFBAFF}"/>
          </ac:spMkLst>
        </pc:spChg>
      </pc:sldChg>
      <pc:sldChg chg="modSp mod modShow modNotesTx">
        <pc:chgData name="Per Hovde" userId="336a567d-735c-4805-ba8e-b6f07afebca7" providerId="ADAL" clId="{3182FA5A-226F-4647-A328-C834339E6962}" dt="2022-01-18T12:19:29.315" v="2374" actId="20577"/>
        <pc:sldMkLst>
          <pc:docMk/>
          <pc:sldMk cId="243667177" sldId="5367"/>
        </pc:sldMkLst>
        <pc:spChg chg="mod">
          <ac:chgData name="Per Hovde" userId="336a567d-735c-4805-ba8e-b6f07afebca7" providerId="ADAL" clId="{3182FA5A-226F-4647-A328-C834339E6962}" dt="2022-01-18T09:31:08.046" v="1479"/>
          <ac:spMkLst>
            <pc:docMk/>
            <pc:sldMk cId="243667177" sldId="5367"/>
            <ac:spMk id="6" creationId="{FE6FAE74-E174-4FC9-AD55-E898E2DFBAFF}"/>
          </ac:spMkLst>
        </pc:spChg>
      </pc:sldChg>
      <pc:sldChg chg="modSp mod">
        <pc:chgData name="Per Hovde" userId="336a567d-735c-4805-ba8e-b6f07afebca7" providerId="ADAL" clId="{3182FA5A-226F-4647-A328-C834339E6962}" dt="2022-01-18T09:30:55.237" v="1477"/>
        <pc:sldMkLst>
          <pc:docMk/>
          <pc:sldMk cId="1300154851" sldId="5368"/>
        </pc:sldMkLst>
        <pc:spChg chg="mod">
          <ac:chgData name="Per Hovde" userId="336a567d-735c-4805-ba8e-b6f07afebca7" providerId="ADAL" clId="{3182FA5A-226F-4647-A328-C834339E6962}" dt="2022-01-18T09:30:55.237" v="1477"/>
          <ac:spMkLst>
            <pc:docMk/>
            <pc:sldMk cId="1300154851" sldId="5368"/>
            <ac:spMk id="6" creationId="{FE6FAE74-E174-4FC9-AD55-E898E2DFBAFF}"/>
          </ac:spMkLst>
        </pc:spChg>
      </pc:sldChg>
      <pc:sldChg chg="modSp mod modNotesTx">
        <pc:chgData name="Per Hovde" userId="336a567d-735c-4805-ba8e-b6f07afebca7" providerId="ADAL" clId="{3182FA5A-226F-4647-A328-C834339E6962}" dt="2022-01-18T10:22:32.045" v="2014" actId="20577"/>
        <pc:sldMkLst>
          <pc:docMk/>
          <pc:sldMk cId="4046025578" sldId="5369"/>
        </pc:sldMkLst>
        <pc:spChg chg="mod">
          <ac:chgData name="Per Hovde" userId="336a567d-735c-4805-ba8e-b6f07afebca7" providerId="ADAL" clId="{3182FA5A-226F-4647-A328-C834339E6962}" dt="2022-01-18T09:31:01.433" v="1478"/>
          <ac:spMkLst>
            <pc:docMk/>
            <pc:sldMk cId="4046025578" sldId="5369"/>
            <ac:spMk id="6" creationId="{FE6FAE74-E174-4FC9-AD55-E898E2DFBAFF}"/>
          </ac:spMkLst>
        </pc:spChg>
      </pc:sldChg>
      <pc:sldChg chg="add del mod modShow">
        <pc:chgData name="Per Hovde" userId="336a567d-735c-4805-ba8e-b6f07afebca7" providerId="ADAL" clId="{3182FA5A-226F-4647-A328-C834339E6962}" dt="2022-01-18T19:53:16.086" v="2452" actId="729"/>
        <pc:sldMkLst>
          <pc:docMk/>
          <pc:sldMk cId="71947600" sldId="5417"/>
        </pc:sldMkLst>
      </pc:sldChg>
      <pc:sldChg chg="modNotesTx">
        <pc:chgData name="Per Hovde" userId="336a567d-735c-4805-ba8e-b6f07afebca7" providerId="ADAL" clId="{3182FA5A-226F-4647-A328-C834339E6962}" dt="2022-01-18T10:27:59.248" v="2360" actId="20577"/>
        <pc:sldMkLst>
          <pc:docMk/>
          <pc:sldMk cId="1549481609" sldId="5429"/>
        </pc:sldMkLst>
      </pc:sldChg>
      <pc:sldChg chg="del">
        <pc:chgData name="Per Hovde" userId="336a567d-735c-4805-ba8e-b6f07afebca7" providerId="ADAL" clId="{3182FA5A-226F-4647-A328-C834339E6962}" dt="2022-01-17T13:24:56.302" v="0" actId="47"/>
        <pc:sldMkLst>
          <pc:docMk/>
          <pc:sldMk cId="1874421409" sldId="5444"/>
        </pc:sldMkLst>
      </pc:sldChg>
      <pc:sldChg chg="del mod modShow">
        <pc:chgData name="Per Hovde" userId="336a567d-735c-4805-ba8e-b6f07afebca7" providerId="ADAL" clId="{3182FA5A-226F-4647-A328-C834339E6962}" dt="2022-01-17T14:23:56.494" v="775" actId="47"/>
        <pc:sldMkLst>
          <pc:docMk/>
          <pc:sldMk cId="1635964550" sldId="5452"/>
        </pc:sldMkLst>
      </pc:sldChg>
      <pc:sldChg chg="ord">
        <pc:chgData name="Per Hovde" userId="336a567d-735c-4805-ba8e-b6f07afebca7" providerId="ADAL" clId="{3182FA5A-226F-4647-A328-C834339E6962}" dt="2022-01-17T14:25:56.027" v="831"/>
        <pc:sldMkLst>
          <pc:docMk/>
          <pc:sldMk cId="445078835" sldId="5456"/>
        </pc:sldMkLst>
      </pc:sldChg>
      <pc:sldChg chg="ord">
        <pc:chgData name="Per Hovde" userId="336a567d-735c-4805-ba8e-b6f07afebca7" providerId="ADAL" clId="{3182FA5A-226F-4647-A328-C834339E6962}" dt="2022-01-17T14:26:10.862" v="833"/>
        <pc:sldMkLst>
          <pc:docMk/>
          <pc:sldMk cId="1580138600" sldId="5457"/>
        </pc:sldMkLst>
      </pc:sldChg>
      <pc:sldChg chg="modSp mod">
        <pc:chgData name="Per Hovde" userId="336a567d-735c-4805-ba8e-b6f07afebca7" providerId="ADAL" clId="{3182FA5A-226F-4647-A328-C834339E6962}" dt="2022-01-17T14:26:29.941" v="839" actId="20577"/>
        <pc:sldMkLst>
          <pc:docMk/>
          <pc:sldMk cId="3351134996" sldId="5458"/>
        </pc:sldMkLst>
        <pc:spChg chg="mod">
          <ac:chgData name="Per Hovde" userId="336a567d-735c-4805-ba8e-b6f07afebca7" providerId="ADAL" clId="{3182FA5A-226F-4647-A328-C834339E6962}" dt="2022-01-17T14:26:29.941" v="839" actId="20577"/>
          <ac:spMkLst>
            <pc:docMk/>
            <pc:sldMk cId="3351134996" sldId="5458"/>
            <ac:spMk id="6" creationId="{2ED54C33-8908-40B1-8A42-3B6DF71FAECF}"/>
          </ac:spMkLst>
        </pc:spChg>
        <pc:spChg chg="mod">
          <ac:chgData name="Per Hovde" userId="336a567d-735c-4805-ba8e-b6f07afebca7" providerId="ADAL" clId="{3182FA5A-226F-4647-A328-C834339E6962}" dt="2022-01-17T13:41:45.971" v="351" actId="20577"/>
          <ac:spMkLst>
            <pc:docMk/>
            <pc:sldMk cId="3351134996" sldId="5458"/>
            <ac:spMk id="11" creationId="{302071A9-BBC7-429A-91E6-DD1DACB8139E}"/>
          </ac:spMkLst>
        </pc:spChg>
        <pc:spChg chg="mod">
          <ac:chgData name="Per Hovde" userId="336a567d-735c-4805-ba8e-b6f07afebca7" providerId="ADAL" clId="{3182FA5A-226F-4647-A328-C834339E6962}" dt="2022-01-17T13:42:13.293" v="363" actId="20577"/>
          <ac:spMkLst>
            <pc:docMk/>
            <pc:sldMk cId="3351134996" sldId="5458"/>
            <ac:spMk id="14" creationId="{AB0449D5-42D4-4157-8A43-B8E57DA93911}"/>
          </ac:spMkLst>
        </pc:spChg>
      </pc:sldChg>
      <pc:sldChg chg="del">
        <pc:chgData name="Per Hovde" userId="336a567d-735c-4805-ba8e-b6f07afebca7" providerId="ADAL" clId="{3182FA5A-226F-4647-A328-C834339E6962}" dt="2022-01-17T13:42:24.796" v="364" actId="47"/>
        <pc:sldMkLst>
          <pc:docMk/>
          <pc:sldMk cId="4140432957" sldId="5459"/>
        </pc:sldMkLst>
      </pc:sldChg>
      <pc:sldChg chg="modSp mod">
        <pc:chgData name="Per Hovde" userId="336a567d-735c-4805-ba8e-b6f07afebca7" providerId="ADAL" clId="{3182FA5A-226F-4647-A328-C834339E6962}" dt="2022-01-19T06:36:24.337" v="2455" actId="20577"/>
        <pc:sldMkLst>
          <pc:docMk/>
          <pc:sldMk cId="2311660597" sldId="5461"/>
        </pc:sldMkLst>
        <pc:spChg chg="mod">
          <ac:chgData name="Per Hovde" userId="336a567d-735c-4805-ba8e-b6f07afebca7" providerId="ADAL" clId="{3182FA5A-226F-4647-A328-C834339E6962}" dt="2022-01-19T06:36:24.337" v="2455" actId="20577"/>
          <ac:spMkLst>
            <pc:docMk/>
            <pc:sldMk cId="2311660597" sldId="5461"/>
            <ac:spMk id="3" creationId="{6DB0F74A-B128-49E4-B409-3774C99D35C8}"/>
          </ac:spMkLst>
        </pc:spChg>
      </pc:sldChg>
      <pc:sldChg chg="modSp del mod">
        <pc:chgData name="Per Hovde" userId="336a567d-735c-4805-ba8e-b6f07afebca7" providerId="ADAL" clId="{3182FA5A-226F-4647-A328-C834339E6962}" dt="2022-01-19T06:48:52.343" v="2456" actId="2696"/>
        <pc:sldMkLst>
          <pc:docMk/>
          <pc:sldMk cId="204931653" sldId="5462"/>
        </pc:sldMkLst>
        <pc:spChg chg="mod">
          <ac:chgData name="Per Hovde" userId="336a567d-735c-4805-ba8e-b6f07afebca7" providerId="ADAL" clId="{3182FA5A-226F-4647-A328-C834339E6962}" dt="2022-01-18T12:57:44.995" v="2443" actId="20577"/>
          <ac:spMkLst>
            <pc:docMk/>
            <pc:sldMk cId="204931653" sldId="5462"/>
            <ac:spMk id="3" creationId="{E270ABFC-DE3E-4327-9BAD-4687E1B9154E}"/>
          </ac:spMkLst>
        </pc:spChg>
      </pc:sldChg>
      <pc:sldChg chg="addSp delSp modSp mod ord delCm">
        <pc:chgData name="Per Hovde" userId="336a567d-735c-4805-ba8e-b6f07afebca7" providerId="ADAL" clId="{3182FA5A-226F-4647-A328-C834339E6962}" dt="2022-01-19T07:29:56.897" v="2668" actId="20577"/>
        <pc:sldMkLst>
          <pc:docMk/>
          <pc:sldMk cId="721357093" sldId="5464"/>
        </pc:sldMkLst>
        <pc:spChg chg="add del mod">
          <ac:chgData name="Per Hovde" userId="336a567d-735c-4805-ba8e-b6f07afebca7" providerId="ADAL" clId="{3182FA5A-226F-4647-A328-C834339E6962}" dt="2022-01-17T13:35:53.026" v="299" actId="478"/>
          <ac:spMkLst>
            <pc:docMk/>
            <pc:sldMk cId="721357093" sldId="5464"/>
            <ac:spMk id="2" creationId="{FF52B558-202F-40D6-B790-EF0B30D9DCA3}"/>
          </ac:spMkLst>
        </pc:spChg>
        <pc:spChg chg="mod">
          <ac:chgData name="Per Hovde" userId="336a567d-735c-4805-ba8e-b6f07afebca7" providerId="ADAL" clId="{3182FA5A-226F-4647-A328-C834339E6962}" dt="2022-01-19T07:29:56.897" v="2668" actId="20577"/>
          <ac:spMkLst>
            <pc:docMk/>
            <pc:sldMk cId="721357093" sldId="5464"/>
            <ac:spMk id="4" creationId="{D3B062CF-9464-4A68-B9B7-F36C1E0E63C2}"/>
          </ac:spMkLst>
        </pc:spChg>
        <pc:spChg chg="add mod">
          <ac:chgData name="Per Hovde" userId="336a567d-735c-4805-ba8e-b6f07afebca7" providerId="ADAL" clId="{3182FA5A-226F-4647-A328-C834339E6962}" dt="2022-01-17T13:39:26.331" v="345" actId="1037"/>
          <ac:spMkLst>
            <pc:docMk/>
            <pc:sldMk cId="721357093" sldId="5464"/>
            <ac:spMk id="6" creationId="{F973C3E7-F62F-4A51-A15E-BEC2627FB0BB}"/>
          </ac:spMkLst>
        </pc:spChg>
        <pc:spChg chg="mod ord">
          <ac:chgData name="Per Hovde" userId="336a567d-735c-4805-ba8e-b6f07afebca7" providerId="ADAL" clId="{3182FA5A-226F-4647-A328-C834339E6962}" dt="2022-01-17T13:38:18.406" v="314" actId="167"/>
          <ac:spMkLst>
            <pc:docMk/>
            <pc:sldMk cId="721357093" sldId="5464"/>
            <ac:spMk id="28" creationId="{66993FB9-0FD0-43DA-8476-81B2B5D34852}"/>
          </ac:spMkLst>
        </pc:spChg>
        <pc:spChg chg="mod">
          <ac:chgData name="Per Hovde" userId="336a567d-735c-4805-ba8e-b6f07afebca7" providerId="ADAL" clId="{3182FA5A-226F-4647-A328-C834339E6962}" dt="2022-01-17T13:33:34.472" v="188" actId="1037"/>
          <ac:spMkLst>
            <pc:docMk/>
            <pc:sldMk cId="721357093" sldId="5464"/>
            <ac:spMk id="40" creationId="{4E4F22E1-E874-4028-A8B7-1C9AE9130C18}"/>
          </ac:spMkLst>
        </pc:spChg>
        <pc:grpChg chg="mod">
          <ac:chgData name="Per Hovde" userId="336a567d-735c-4805-ba8e-b6f07afebca7" providerId="ADAL" clId="{3182FA5A-226F-4647-A328-C834339E6962}" dt="2022-01-17T13:34:09.415" v="278" actId="1037"/>
          <ac:grpSpMkLst>
            <pc:docMk/>
            <pc:sldMk cId="721357093" sldId="5464"/>
            <ac:grpSpMk id="44" creationId="{EA3D9CC2-CE12-491B-B550-2AFC522EE2AB}"/>
          </ac:grpSpMkLst>
        </pc:grpChg>
        <pc:grpChg chg="mod">
          <ac:chgData name="Per Hovde" userId="336a567d-735c-4805-ba8e-b6f07afebca7" providerId="ADAL" clId="{3182FA5A-226F-4647-A328-C834339E6962}" dt="2022-01-17T13:33:57.481" v="263" actId="1038"/>
          <ac:grpSpMkLst>
            <pc:docMk/>
            <pc:sldMk cId="721357093" sldId="5464"/>
            <ac:grpSpMk id="45" creationId="{C3E34260-8BCA-453A-A0FA-FC154BD89862}"/>
          </ac:grpSpMkLst>
        </pc:grpChg>
        <pc:picChg chg="add del mod">
          <ac:chgData name="Per Hovde" userId="336a567d-735c-4805-ba8e-b6f07afebca7" providerId="ADAL" clId="{3182FA5A-226F-4647-A328-C834339E6962}" dt="2022-01-17T13:37:14.721" v="307" actId="478"/>
          <ac:picMkLst>
            <pc:docMk/>
            <pc:sldMk cId="721357093" sldId="5464"/>
            <ac:picMk id="3" creationId="{BD34BDED-C066-4EEA-812E-855CCBB06676}"/>
          </ac:picMkLst>
        </pc:picChg>
        <pc:picChg chg="add mod">
          <ac:chgData name="Per Hovde" userId="336a567d-735c-4805-ba8e-b6f07afebca7" providerId="ADAL" clId="{3182FA5A-226F-4647-A328-C834339E6962}" dt="2022-01-17T13:39:26.331" v="345" actId="1037"/>
          <ac:picMkLst>
            <pc:docMk/>
            <pc:sldMk cId="721357093" sldId="5464"/>
            <ac:picMk id="5" creationId="{B42A6F2C-4806-40B4-AB12-D033F7E7A85F}"/>
          </ac:picMkLst>
        </pc:picChg>
        <pc:picChg chg="add mod ord">
          <ac:chgData name="Per Hovde" userId="336a567d-735c-4805-ba8e-b6f07afebca7" providerId="ADAL" clId="{3182FA5A-226F-4647-A328-C834339E6962}" dt="2022-01-17T13:39:26.331" v="345" actId="1037"/>
          <ac:picMkLst>
            <pc:docMk/>
            <pc:sldMk cId="721357093" sldId="5464"/>
            <ac:picMk id="19" creationId="{7DEC01FC-4817-4E2E-A5DD-B72DDC8C10F9}"/>
          </ac:picMkLst>
        </pc:picChg>
        <pc:picChg chg="mod">
          <ac:chgData name="Per Hovde" userId="336a567d-735c-4805-ba8e-b6f07afebca7" providerId="ADAL" clId="{3182FA5A-226F-4647-A328-C834339E6962}" dt="2022-01-17T13:34:09.415" v="278" actId="1037"/>
          <ac:picMkLst>
            <pc:docMk/>
            <pc:sldMk cId="721357093" sldId="5464"/>
            <ac:picMk id="43" creationId="{60BC7159-2A8F-4508-B6F1-5F86E9ADE67F}"/>
          </ac:picMkLst>
        </pc:picChg>
      </pc:sldChg>
      <pc:sldChg chg="new del">
        <pc:chgData name="Per Hovde" userId="336a567d-735c-4805-ba8e-b6f07afebca7" providerId="ADAL" clId="{3182FA5A-226F-4647-A328-C834339E6962}" dt="2022-01-17T13:25:33.151" v="4" actId="47"/>
        <pc:sldMkLst>
          <pc:docMk/>
          <pc:sldMk cId="1751711636" sldId="5473"/>
        </pc:sldMkLst>
      </pc:sldChg>
      <pc:sldChg chg="modSp new mod">
        <pc:chgData name="Per Hovde" userId="336a567d-735c-4805-ba8e-b6f07afebca7" providerId="ADAL" clId="{3182FA5A-226F-4647-A328-C834339E6962}" dt="2022-01-19T07:11:37.919" v="2647" actId="20577"/>
        <pc:sldMkLst>
          <pc:docMk/>
          <pc:sldMk cId="2666937909" sldId="5474"/>
        </pc:sldMkLst>
        <pc:spChg chg="mod">
          <ac:chgData name="Per Hovde" userId="336a567d-735c-4805-ba8e-b6f07afebca7" providerId="ADAL" clId="{3182FA5A-226F-4647-A328-C834339E6962}" dt="2022-01-17T13:44:56.338" v="425" actId="20577"/>
          <ac:spMkLst>
            <pc:docMk/>
            <pc:sldMk cId="2666937909" sldId="5474"/>
            <ac:spMk id="2" creationId="{127D9E5C-59CB-4DC6-9E5A-C0F363E9DEDE}"/>
          </ac:spMkLst>
        </pc:spChg>
        <pc:spChg chg="mod">
          <ac:chgData name="Per Hovde" userId="336a567d-735c-4805-ba8e-b6f07afebca7" providerId="ADAL" clId="{3182FA5A-226F-4647-A328-C834339E6962}" dt="2022-01-19T07:11:37.919" v="2647" actId="20577"/>
          <ac:spMkLst>
            <pc:docMk/>
            <pc:sldMk cId="2666937909" sldId="5474"/>
            <ac:spMk id="3" creationId="{8FC8B1A4-DECC-4D13-9969-1C7E0C40379F}"/>
          </ac:spMkLst>
        </pc:spChg>
      </pc:sldChg>
      <pc:sldChg chg="addSp modSp new del mod modTransition modClrScheme chgLayout modNotesTx">
        <pc:chgData name="Per Hovde" userId="336a567d-735c-4805-ba8e-b6f07afebca7" providerId="ADAL" clId="{3182FA5A-226F-4647-A328-C834339E6962}" dt="2022-01-18T13:54:35.422" v="2448"/>
        <pc:sldMkLst>
          <pc:docMk/>
          <pc:sldMk cId="2995512339" sldId="5476"/>
        </pc:sldMkLst>
        <pc:spChg chg="mod ord">
          <ac:chgData name="Per Hovde" userId="336a567d-735c-4805-ba8e-b6f07afebca7" providerId="ADAL" clId="{3182FA5A-226F-4647-A328-C834339E6962}" dt="2022-01-18T13:48:55.736" v="2446" actId="700"/>
          <ac:spMkLst>
            <pc:docMk/>
            <pc:sldMk cId="2995512339" sldId="5476"/>
            <ac:spMk id="2" creationId="{85D3E0C9-D7C0-4004-82E9-79FA9A277F05}"/>
          </ac:spMkLst>
        </pc:spChg>
        <pc:picChg chg="add mod">
          <ac:chgData name="Per Hovde" userId="336a567d-735c-4805-ba8e-b6f07afebca7" providerId="ADAL" clId="{3182FA5A-226F-4647-A328-C834339E6962}" dt="2022-01-18T08:53:24.330" v="1040" actId="14100"/>
          <ac:picMkLst>
            <pc:docMk/>
            <pc:sldMk cId="2995512339" sldId="5476"/>
            <ac:picMk id="3" creationId="{9496D2E6-B3CB-48EE-ACC3-8AAE3AB58DF9}"/>
          </ac:picMkLst>
        </pc:picChg>
      </pc:sldChg>
      <pc:sldChg chg="delSp modSp del mod ord modClrScheme modShow chgLayout modNotesTx">
        <pc:chgData name="Per Hovde" userId="336a567d-735c-4805-ba8e-b6f07afebca7" providerId="ADAL" clId="{3182FA5A-226F-4647-A328-C834339E6962}" dt="2022-01-19T07:09:18.378" v="2644" actId="1076"/>
        <pc:sldMkLst>
          <pc:docMk/>
          <pc:sldMk cId="632630712" sldId="5479"/>
        </pc:sldMkLst>
        <pc:spChg chg="mod ord">
          <ac:chgData name="Per Hovde" userId="336a567d-735c-4805-ba8e-b6f07afebca7" providerId="ADAL" clId="{3182FA5A-226F-4647-A328-C834339E6962}" dt="2022-01-19T07:09:05.909" v="2643" actId="20577"/>
          <ac:spMkLst>
            <pc:docMk/>
            <pc:sldMk cId="632630712" sldId="5479"/>
            <ac:spMk id="2" creationId="{85D3E0C9-D7C0-4004-82E9-79FA9A277F05}"/>
          </ac:spMkLst>
        </pc:spChg>
        <pc:spChg chg="mod">
          <ac:chgData name="Per Hovde" userId="336a567d-735c-4805-ba8e-b6f07afebca7" providerId="ADAL" clId="{3182FA5A-226F-4647-A328-C834339E6962}" dt="2022-01-19T07:08:45.219" v="2626" actId="1076"/>
          <ac:spMkLst>
            <pc:docMk/>
            <pc:sldMk cId="632630712" sldId="5479"/>
            <ac:spMk id="5" creationId="{C77042F5-B827-4E22-9856-D70C16B38AC1}"/>
          </ac:spMkLst>
        </pc:spChg>
        <pc:picChg chg="del">
          <ac:chgData name="Per Hovde" userId="336a567d-735c-4805-ba8e-b6f07afebca7" providerId="ADAL" clId="{3182FA5A-226F-4647-A328-C834339E6962}" dt="2022-01-19T07:05:17.625" v="2463" actId="478"/>
          <ac:picMkLst>
            <pc:docMk/>
            <pc:sldMk cId="632630712" sldId="5479"/>
            <ac:picMk id="3" creationId="{9496D2E6-B3CB-48EE-ACC3-8AAE3AB58DF9}"/>
          </ac:picMkLst>
        </pc:picChg>
        <pc:picChg chg="mod">
          <ac:chgData name="Per Hovde" userId="336a567d-735c-4805-ba8e-b6f07afebca7" providerId="ADAL" clId="{3182FA5A-226F-4647-A328-C834339E6962}" dt="2022-01-19T07:09:18.378" v="2644" actId="1076"/>
          <ac:picMkLst>
            <pc:docMk/>
            <pc:sldMk cId="632630712" sldId="5479"/>
            <ac:picMk id="4" creationId="{4FA23CD9-BEAF-4F40-9FAA-136EBC6ED694}"/>
          </ac:picMkLst>
        </pc:picChg>
      </pc:sldChg>
      <pc:sldChg chg="modSp mod">
        <pc:chgData name="Per Hovde" userId="336a567d-735c-4805-ba8e-b6f07afebca7" providerId="ADAL" clId="{3182FA5A-226F-4647-A328-C834339E6962}" dt="2022-01-19T07:14:26.974" v="2653" actId="20577"/>
        <pc:sldMkLst>
          <pc:docMk/>
          <pc:sldMk cId="2260408561" sldId="5485"/>
        </pc:sldMkLst>
        <pc:spChg chg="mod">
          <ac:chgData name="Per Hovde" userId="336a567d-735c-4805-ba8e-b6f07afebca7" providerId="ADAL" clId="{3182FA5A-226F-4647-A328-C834339E6962}" dt="2022-01-19T07:14:26.974" v="2653" actId="20577"/>
          <ac:spMkLst>
            <pc:docMk/>
            <pc:sldMk cId="2260408561" sldId="5485"/>
            <ac:spMk id="3" creationId="{E270ABFC-DE3E-4327-9BAD-4687E1B9154E}"/>
          </ac:spMkLst>
        </pc:spChg>
      </pc:sldChg>
      <pc:sldChg chg="add">
        <pc:chgData name="Per Hovde" userId="336a567d-735c-4805-ba8e-b6f07afebca7" providerId="ADAL" clId="{3182FA5A-226F-4647-A328-C834339E6962}" dt="2022-01-19T07:05:04.673" v="2461" actId="2890"/>
        <pc:sldMkLst>
          <pc:docMk/>
          <pc:sldMk cId="2013804896" sldId="5486"/>
        </pc:sldMkLst>
      </pc:sldChg>
    </pc:docChg>
  </pc:docChgLst>
  <pc:docChgLst>
    <pc:chgData name="Per Hovde" userId="336a567d-735c-4805-ba8e-b6f07afebca7" providerId="ADAL" clId="{F99AA6D9-44FE-4259-A075-83C7C03E7109}"/>
    <pc:docChg chg="custSel addSld delSld modSld sldOrd">
      <pc:chgData name="Per Hovde" userId="336a567d-735c-4805-ba8e-b6f07afebca7" providerId="ADAL" clId="{F99AA6D9-44FE-4259-A075-83C7C03E7109}" dt="2021-12-16T07:53:42.147" v="73" actId="729"/>
      <pc:docMkLst>
        <pc:docMk/>
      </pc:docMkLst>
      <pc:sldChg chg="modSp mod">
        <pc:chgData name="Per Hovde" userId="336a567d-735c-4805-ba8e-b6f07afebca7" providerId="ADAL" clId="{F99AA6D9-44FE-4259-A075-83C7C03E7109}" dt="2021-12-16T07:41:17.820" v="48" actId="313"/>
        <pc:sldMkLst>
          <pc:docMk/>
          <pc:sldMk cId="1487953720" sldId="1002"/>
        </pc:sldMkLst>
        <pc:spChg chg="mod">
          <ac:chgData name="Per Hovde" userId="336a567d-735c-4805-ba8e-b6f07afebca7" providerId="ADAL" clId="{F99AA6D9-44FE-4259-A075-83C7C03E7109}" dt="2021-12-16T07:41:17.820" v="48" actId="313"/>
          <ac:spMkLst>
            <pc:docMk/>
            <pc:sldMk cId="1487953720" sldId="1002"/>
            <ac:spMk id="2" creationId="{7C8A331D-91CE-4C5E-AE53-01C12CB5F8B4}"/>
          </ac:spMkLst>
        </pc:spChg>
      </pc:sldChg>
      <pc:sldChg chg="add">
        <pc:chgData name="Per Hovde" userId="336a567d-735c-4805-ba8e-b6f07afebca7" providerId="ADAL" clId="{F99AA6D9-44FE-4259-A075-83C7C03E7109}" dt="2021-12-16T07:49:08.726" v="68"/>
        <pc:sldMkLst>
          <pc:docMk/>
          <pc:sldMk cId="2463805874" sldId="5364"/>
        </pc:sldMkLst>
      </pc:sldChg>
      <pc:sldChg chg="add">
        <pc:chgData name="Per Hovde" userId="336a567d-735c-4805-ba8e-b6f07afebca7" providerId="ADAL" clId="{F99AA6D9-44FE-4259-A075-83C7C03E7109}" dt="2021-12-16T07:49:08.726" v="68"/>
        <pc:sldMkLst>
          <pc:docMk/>
          <pc:sldMk cId="305355944" sldId="5366"/>
        </pc:sldMkLst>
      </pc:sldChg>
      <pc:sldChg chg="add mod modShow">
        <pc:chgData name="Per Hovde" userId="336a567d-735c-4805-ba8e-b6f07afebca7" providerId="ADAL" clId="{F99AA6D9-44FE-4259-A075-83C7C03E7109}" dt="2021-12-16T07:53:05.989" v="71" actId="729"/>
        <pc:sldMkLst>
          <pc:docMk/>
          <pc:sldMk cId="243667177" sldId="5367"/>
        </pc:sldMkLst>
      </pc:sldChg>
      <pc:sldChg chg="add">
        <pc:chgData name="Per Hovde" userId="336a567d-735c-4805-ba8e-b6f07afebca7" providerId="ADAL" clId="{F99AA6D9-44FE-4259-A075-83C7C03E7109}" dt="2021-12-16T07:49:08.726" v="68"/>
        <pc:sldMkLst>
          <pc:docMk/>
          <pc:sldMk cId="1300154851" sldId="5368"/>
        </pc:sldMkLst>
      </pc:sldChg>
      <pc:sldChg chg="add">
        <pc:chgData name="Per Hovde" userId="336a567d-735c-4805-ba8e-b6f07afebca7" providerId="ADAL" clId="{F99AA6D9-44FE-4259-A075-83C7C03E7109}" dt="2021-12-16T07:49:08.726" v="68"/>
        <pc:sldMkLst>
          <pc:docMk/>
          <pc:sldMk cId="4046025578" sldId="5369"/>
        </pc:sldMkLst>
      </pc:sldChg>
      <pc:sldChg chg="del">
        <pc:chgData name="Per Hovde" userId="336a567d-735c-4805-ba8e-b6f07afebca7" providerId="ADAL" clId="{F99AA6D9-44FE-4259-A075-83C7C03E7109}" dt="2021-12-16T07:44:58.505" v="65" actId="47"/>
        <pc:sldMkLst>
          <pc:docMk/>
          <pc:sldMk cId="2800800265" sldId="5378"/>
        </pc:sldMkLst>
      </pc:sldChg>
      <pc:sldChg chg="modSp mod">
        <pc:chgData name="Per Hovde" userId="336a567d-735c-4805-ba8e-b6f07afebca7" providerId="ADAL" clId="{F99AA6D9-44FE-4259-A075-83C7C03E7109}" dt="2021-12-16T07:41:46.937" v="64" actId="20577"/>
        <pc:sldMkLst>
          <pc:docMk/>
          <pc:sldMk cId="3698189775" sldId="5419"/>
        </pc:sldMkLst>
        <pc:spChg chg="mod">
          <ac:chgData name="Per Hovde" userId="336a567d-735c-4805-ba8e-b6f07afebca7" providerId="ADAL" clId="{F99AA6D9-44FE-4259-A075-83C7C03E7109}" dt="2021-12-16T07:41:46.937" v="64" actId="20577"/>
          <ac:spMkLst>
            <pc:docMk/>
            <pc:sldMk cId="3698189775" sldId="5419"/>
            <ac:spMk id="5" creationId="{9BAB3232-3BB5-423E-BBC5-66A2AC65BC3A}"/>
          </ac:spMkLst>
        </pc:spChg>
      </pc:sldChg>
      <pc:sldChg chg="ord">
        <pc:chgData name="Per Hovde" userId="336a567d-735c-4805-ba8e-b6f07afebca7" providerId="ADAL" clId="{F99AA6D9-44FE-4259-A075-83C7C03E7109}" dt="2021-12-16T07:49:26.833" v="70"/>
        <pc:sldMkLst>
          <pc:docMk/>
          <pc:sldMk cId="3849777187" sldId="5440"/>
        </pc:sldMkLst>
      </pc:sldChg>
      <pc:sldChg chg="del">
        <pc:chgData name="Per Hovde" userId="336a567d-735c-4805-ba8e-b6f07afebca7" providerId="ADAL" clId="{F99AA6D9-44FE-4259-A075-83C7C03E7109}" dt="2021-12-16T07:46:37.515" v="67" actId="47"/>
        <pc:sldMkLst>
          <pc:docMk/>
          <pc:sldMk cId="2215656708" sldId="5443"/>
        </pc:sldMkLst>
      </pc:sldChg>
      <pc:sldChg chg="del">
        <pc:chgData name="Per Hovde" userId="336a567d-735c-4805-ba8e-b6f07afebca7" providerId="ADAL" clId="{F99AA6D9-44FE-4259-A075-83C7C03E7109}" dt="2021-12-16T07:46:01.589" v="66" actId="47"/>
        <pc:sldMkLst>
          <pc:docMk/>
          <pc:sldMk cId="1259239988" sldId="5444"/>
        </pc:sldMkLst>
      </pc:sldChg>
      <pc:sldChg chg="mod modShow">
        <pc:chgData name="Per Hovde" userId="336a567d-735c-4805-ba8e-b6f07afebca7" providerId="ADAL" clId="{F99AA6D9-44FE-4259-A075-83C7C03E7109}" dt="2021-12-16T07:53:42.147" v="73" actId="729"/>
        <pc:sldMkLst>
          <pc:docMk/>
          <pc:sldMk cId="4181058342" sldId="545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9EC71326-1FAB-2242-B912-FE22ADD75674}" type="datetimeFigureOut">
              <a:rPr lang="nb-NO" smtClean="0"/>
              <a:t>21.01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A668AE59-872A-C84E-8923-0D033DD18B1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8193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EB633C-5D6C-4839-B631-9E0D4EBC267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6243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A668AE59-872A-C84E-8923-0D033DD18B1C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1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03811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27621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A668AE59-872A-C84E-8923-0D033DD18B1C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4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300658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Svar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det </a:t>
            </a:r>
            <a:r>
              <a:rPr lang="en-US" err="1"/>
              <a:t>andre</a:t>
            </a:r>
            <a:r>
              <a:rPr lang="en-US"/>
              <a:t> </a:t>
            </a:r>
            <a:r>
              <a:rPr lang="en-US" err="1"/>
              <a:t>spørsmålet</a:t>
            </a:r>
            <a:r>
              <a:rPr lang="en-US"/>
              <a:t> </a:t>
            </a:r>
            <a:r>
              <a:rPr lang="en-US" err="1"/>
              <a:t>formulert</a:t>
            </a:r>
            <a:r>
              <a:rPr lang="en-US"/>
              <a:t> av Håkon Sønderland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prosjektgruppen</a:t>
            </a:r>
            <a:r>
              <a:rPr lang="en-US"/>
              <a:t> </a:t>
            </a:r>
            <a:r>
              <a:rPr lang="en-US" err="1"/>
              <a:t>uttrykte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en </a:t>
            </a:r>
            <a:r>
              <a:rPr lang="en-US" err="1"/>
              <a:t>virksomhetsstige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64713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tigen gjelder både analyseformål og tjenesteproduksjon for første steget til Orden i eget hus, deretter ser vi på analyseformål.</a:t>
            </a:r>
          </a:p>
          <a:p>
            <a:r>
              <a:rPr lang="nb-NO"/>
              <a:t>Vi laget denne for en sektor – men vi er ikke SÅ spesielle</a:t>
            </a:r>
          </a:p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7379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har spesifisert en sektorreise – men vi er ikke SÅ spesielle!</a:t>
            </a:r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32413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har en sektor der flere lignende aktører trenger og ønsker å harmonisere seg: </a:t>
            </a:r>
          </a:p>
          <a:p>
            <a:pPr marL="176679" indent="-176679">
              <a:buFontTx/>
              <a:buChar char="-"/>
            </a:pPr>
            <a:r>
              <a:rPr lang="nb-NO"/>
              <a:t>Mellom organisasjoner som utfører lignende funksjon: skole, universiteter, kommuner, barnehager, …</a:t>
            </a:r>
          </a:p>
          <a:p>
            <a:pPr marL="176679" indent="-176679">
              <a:buFontTx/>
              <a:buChar char="-"/>
            </a:pPr>
            <a:r>
              <a:rPr lang="nb-NO"/>
              <a:t>Med sine fagfelt, gjerne internasjonalt</a:t>
            </a:r>
          </a:p>
          <a:p>
            <a:pPr marL="176679" indent="-176679">
              <a:buFontTx/>
              <a:buChar char="-"/>
            </a:pPr>
            <a:endParaRPr lang="nb-NO"/>
          </a:p>
          <a:p>
            <a:r>
              <a:rPr lang="nb-NO"/>
              <a:t>Modellen gjelder for BÅDE analyseformål og tjenesteproduksjon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2015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har en sektor der flere lignende aktører trenger å harmonisere seg: </a:t>
            </a:r>
          </a:p>
          <a:p>
            <a:pPr marL="176679" indent="-176679">
              <a:buFontTx/>
              <a:buChar char="-"/>
            </a:pPr>
            <a:r>
              <a:rPr lang="nb-NO"/>
              <a:t>Mellom organisasjoner som utfører lignende funksjon: skole, universiteter, kommuner, barnehager, …</a:t>
            </a:r>
          </a:p>
          <a:p>
            <a:pPr marL="176679" indent="-176679">
              <a:buFontTx/>
              <a:buChar char="-"/>
            </a:pPr>
            <a:r>
              <a:rPr lang="nb-NO"/>
              <a:t>Med sine fagfelt, gjerne internasjonalt</a:t>
            </a:r>
          </a:p>
          <a:p>
            <a:pPr marL="176679" indent="-176679">
              <a:buFontTx/>
              <a:buChar char="-"/>
            </a:pPr>
            <a:endParaRPr lang="nb-NO"/>
          </a:p>
          <a:p>
            <a:pPr defTabSz="942289">
              <a:defRPr/>
            </a:pPr>
            <a:r>
              <a:rPr lang="nb-NO"/>
              <a:t>Modellen gjelder for BÅDE analyseformål og tjenesteproduksjon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8188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7D9261-7C90-3B4D-AB9A-060167C752FD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47065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Igjen, er det </a:t>
            </a:r>
            <a:r>
              <a:rPr lang="nb-NO" err="1"/>
              <a:t>domenen</a:t>
            </a:r>
            <a:r>
              <a:rPr lang="nb-NO"/>
              <a:t> og ikke virksomheten som bestemmer begrepene og datamodellene</a:t>
            </a:r>
          </a:p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7D9261-7C90-3B4D-AB9A-060167C752FD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1417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un én gang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29266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r>
              <a:rPr lang="nb-NO" sz="19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oss se litt nærmere på verdiskapingsnivået.</a:t>
            </a:r>
            <a:endParaRPr lang="en-US" sz="19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24"/>
              </a:spcAft>
            </a:pPr>
            <a:r>
              <a:rPr lang="nb-NO" sz="19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edata fra ulike domener kan bidra med grunnlag for å forstå sammenhenger og danne innsikt for egen virksomhet, for sektoren eller samfunnet.</a:t>
            </a:r>
            <a:endParaRPr lang="en-US" sz="19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74651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ensiktsmessige modeller for hvert sitt bruk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70620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Ønsker at Felles Datakatalog og Felles økosystem har et forhold til domener</a:t>
            </a:r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40981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EB633C-5D6C-4839-B631-9E0D4EBC267B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691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rever ressurseffektiv og bærekraftig informasjonsforvaltning og etterlevelse av FAIR-prinsippene for at potensialet skal utløses. Orden i eget hus et viktig bidrag mot å rikke offentlig sektor for å gjøre data tilgjengelig som ressurs på en skalerbar måte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33256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vergang til Orden i eget hus…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62329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evne at Orden i eget hus er en grunnpilar for det anbefalte konseptet fra konseptutredningen «Orden i kunnskapssektoren» som bakgrunn for modenhetsanalysen for orden i eget hus i sektoren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95429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Resultater fra modenhetsanalyse for Orden i eget hus blant kunnskapssektorens virksomheter, gjennomført våren 2021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766EFB2A-BBB8-4FDD-B7B1-C285C93CD334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0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45113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A668AE59-872A-C84E-8923-0D033DD18B1C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1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59711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Behov til metadatakatalogen at den understøtter FAIR-</a:t>
            </a:r>
            <a:r>
              <a:rPr lang="nb-NO" err="1"/>
              <a:t>prisippene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597113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8AE59-872A-C84E-8923-0D033DD18B1C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2821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6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0.jpe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68BFEEF-7733-E64F-931D-F3AD332242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rgbClr val="96DCF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128FCCB-2ED0-544D-A3FF-5FE4CDC904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96DCF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767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CD237BC-13AB-5944-B69F-07E3459DF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E2EDBED-DE3C-3348-BD35-02FC36798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2509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F76221-0ADA-224D-9B32-5E9384E42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C62C1A7-95F7-0D47-B58E-A86A5B2A11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E0F9DE38-2E20-5246-969D-F670330ECE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16EA5FEA-387A-354E-BAEA-F84ED661B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E798C730-4744-DB4F-88D3-A0FFFDB60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7454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1B62422-6CCB-AB4A-836E-1BE522200382}"/>
              </a:ext>
            </a:extLst>
          </p:cNvPr>
          <p:cNvSpPr/>
          <p:nvPr userDrawn="1"/>
        </p:nvSpPr>
        <p:spPr>
          <a:xfrm>
            <a:off x="5183188" y="0"/>
            <a:ext cx="7008812" cy="6858000"/>
          </a:xfrm>
          <a:prstGeom prst="rect">
            <a:avLst/>
          </a:prstGeom>
          <a:solidFill>
            <a:srgbClr val="F5A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9470803-3D4B-6D45-9951-C0EE8BBF6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463675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64566D3C-44CB-244A-8F79-6918DB05C7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46784" y="987425"/>
            <a:ext cx="5808603" cy="48736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6101783-F268-6E41-8985-911C99A2CB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8446006C-B6BB-7B4B-9A59-9469C377A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A3669A4-9D51-8440-91DB-B1A8CB9FA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0931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4024" y="1318339"/>
            <a:ext cx="3576318" cy="4330947"/>
          </a:xfrm>
        </p:spPr>
        <p:txBody>
          <a:bodyPr lIns="0" tIns="0" rIns="0" bIns="0" anchor="t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A4C5D1D-E213-4E5B-89E5-F30E3EBFCB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74225" y="1318340"/>
            <a:ext cx="6483751" cy="433094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664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7451016-E929-524B-938C-ACE766C66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37867D3C-D044-2249-935D-B3F1954F65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8447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fikk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4227" y="1618922"/>
            <a:ext cx="5128722" cy="34228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4" y="1618922"/>
            <a:ext cx="3811153" cy="1149312"/>
          </a:xfrm>
        </p:spPr>
        <p:txBody>
          <a:bodyPr lIns="0" tIns="0" rIns="0" bIns="0" anchor="b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E1C812-D051-429E-AEBF-6E98F129D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053115"/>
            <a:ext cx="3806976" cy="19886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926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Oransje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99E0B6-AF8F-49CD-8556-3FB8C9E3F0B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81" y="3619919"/>
            <a:ext cx="4667541" cy="1807556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50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81" y="5612665"/>
            <a:ext cx="4667541" cy="1075336"/>
          </a:xfrm>
        </p:spPr>
        <p:txBody>
          <a:bodyPr/>
          <a:lstStyle>
            <a:lvl1pPr marL="0" indent="0" algn="l">
              <a:buNone/>
              <a:defRPr sz="1400"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2EB1E42-5BFA-4754-9DE3-D7F6F4C1E2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4792"/>
            <a:ext cx="6096000" cy="343320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382DC83-A4DE-4FE7-B63E-6D125678F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861" t="4039" r="48335" b="47837"/>
          <a:stretch/>
        </p:blipFill>
        <p:spPr>
          <a:xfrm>
            <a:off x="0" y="0"/>
            <a:ext cx="6096000" cy="3424793"/>
          </a:xfrm>
          <a:prstGeom prst="rect">
            <a:avLst/>
          </a:prstGeom>
        </p:spPr>
      </p:pic>
      <p:pic>
        <p:nvPicPr>
          <p:cNvPr id="5" name="Logo_Nynorsk" hidden="1">
            <a:extLst>
              <a:ext uri="{FF2B5EF4-FFF2-40B4-BE49-F238E27FC236}">
                <a16:creationId xmlns:a16="http://schemas.microsoft.com/office/drawing/2014/main" id="{C6D7F8BD-6789-4E89-BE10-AE6710FFB66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24828" y="522065"/>
            <a:ext cx="2920333" cy="640800"/>
          </a:xfrm>
          <a:prstGeom prst="rect">
            <a:avLst/>
          </a:prstGeom>
        </p:spPr>
      </p:pic>
      <p:pic>
        <p:nvPicPr>
          <p:cNvPr id="7" name="Logo_Bokmal">
            <a:extLst>
              <a:ext uri="{FF2B5EF4-FFF2-40B4-BE49-F238E27FC236}">
                <a16:creationId xmlns:a16="http://schemas.microsoft.com/office/drawing/2014/main" id="{1B960393-DA95-45D4-BC0F-B0E1F85F6C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24828" y="522065"/>
            <a:ext cx="2885640" cy="640800"/>
          </a:xfrm>
          <a:prstGeom prst="rect">
            <a:avLst/>
          </a:prstGeom>
        </p:spPr>
      </p:pic>
      <p:pic>
        <p:nvPicPr>
          <p:cNvPr id="10" name="Logo_Engelsk" hidden="1">
            <a:extLst>
              <a:ext uri="{FF2B5EF4-FFF2-40B4-BE49-F238E27FC236}">
                <a16:creationId xmlns:a16="http://schemas.microsoft.com/office/drawing/2014/main" id="{02C6777A-C9B1-49C7-A444-881FE1E3D91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24828" y="522065"/>
            <a:ext cx="3513544" cy="639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2212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agenta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99E0B6-AF8F-49CD-8556-3FB8C9E3F0B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81" y="3619919"/>
            <a:ext cx="4667541" cy="1807556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50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81" y="5612665"/>
            <a:ext cx="4667541" cy="1075336"/>
          </a:xfrm>
        </p:spPr>
        <p:txBody>
          <a:bodyPr/>
          <a:lstStyle>
            <a:lvl1pPr marL="0" indent="0" algn="l">
              <a:buNone/>
              <a:defRPr sz="1400"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2EB1E42-5BFA-4754-9DE3-D7F6F4C1E2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382DC83-A4DE-4FE7-B63E-6D125678F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861" t="4039" r="48335" b="47837"/>
          <a:stretch/>
        </p:blipFill>
        <p:spPr>
          <a:xfrm>
            <a:off x="0" y="0"/>
            <a:ext cx="6096000" cy="3424793"/>
          </a:xfrm>
          <a:prstGeom prst="rect">
            <a:avLst/>
          </a:prstGeom>
        </p:spPr>
      </p:pic>
      <p:pic>
        <p:nvPicPr>
          <p:cNvPr id="13" name="Logo_Nynorsk" hidden="1">
            <a:extLst>
              <a:ext uri="{FF2B5EF4-FFF2-40B4-BE49-F238E27FC236}">
                <a16:creationId xmlns:a16="http://schemas.microsoft.com/office/drawing/2014/main" id="{77011D5C-36FC-4882-8EDF-E39B9B5F25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24828" y="522065"/>
            <a:ext cx="2920333" cy="640800"/>
          </a:xfrm>
          <a:prstGeom prst="rect">
            <a:avLst/>
          </a:prstGeom>
        </p:spPr>
      </p:pic>
      <p:pic>
        <p:nvPicPr>
          <p:cNvPr id="14" name="Logo_Bokmal">
            <a:extLst>
              <a:ext uri="{FF2B5EF4-FFF2-40B4-BE49-F238E27FC236}">
                <a16:creationId xmlns:a16="http://schemas.microsoft.com/office/drawing/2014/main" id="{87AABA1F-77AF-4C1E-89DD-A4B3CD6021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624828" y="522065"/>
            <a:ext cx="2885640" cy="640800"/>
          </a:xfrm>
          <a:prstGeom prst="rect">
            <a:avLst/>
          </a:prstGeom>
        </p:spPr>
      </p:pic>
      <p:pic>
        <p:nvPicPr>
          <p:cNvPr id="15" name="Logo_Engelsk" hidden="1">
            <a:extLst>
              <a:ext uri="{FF2B5EF4-FFF2-40B4-BE49-F238E27FC236}">
                <a16:creationId xmlns:a16="http://schemas.microsoft.com/office/drawing/2014/main" id="{51D39E2D-1677-4DA8-9B54-BA796A06549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24828" y="522065"/>
            <a:ext cx="3513544" cy="639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2813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Oransj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99E0B6-AF8F-49CD-8556-3FB8C9E3F0B2}"/>
              </a:ext>
            </a:extLst>
          </p:cNvPr>
          <p:cNvSpPr/>
          <p:nvPr userDrawn="1"/>
        </p:nvSpPr>
        <p:spPr>
          <a:xfrm>
            <a:off x="0" y="0"/>
            <a:ext cx="477032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79813" y="3718786"/>
            <a:ext cx="6088750" cy="1807556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501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9813" y="5711531"/>
            <a:ext cx="6088751" cy="924816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4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2EB1E42-5BFA-4754-9DE3-D7F6F4C1E2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70329" y="1"/>
            <a:ext cx="7421671" cy="3429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6" name="Logo_Nynorsk" hidden="1">
            <a:extLst>
              <a:ext uri="{FF2B5EF4-FFF2-40B4-BE49-F238E27FC236}">
                <a16:creationId xmlns:a16="http://schemas.microsoft.com/office/drawing/2014/main" id="{C581CB95-18F3-4D4C-BA63-E401740C52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104" y="5526691"/>
            <a:ext cx="2920333" cy="640800"/>
          </a:xfrm>
          <a:prstGeom prst="rect">
            <a:avLst/>
          </a:prstGeom>
        </p:spPr>
      </p:pic>
      <p:pic>
        <p:nvPicPr>
          <p:cNvPr id="12" name="Logo_Bokmal">
            <a:extLst>
              <a:ext uri="{FF2B5EF4-FFF2-40B4-BE49-F238E27FC236}">
                <a16:creationId xmlns:a16="http://schemas.microsoft.com/office/drawing/2014/main" id="{52A18BDD-8A94-430D-BDE8-CCF241EEAC1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8104" y="5526691"/>
            <a:ext cx="2885640" cy="640800"/>
          </a:xfrm>
          <a:prstGeom prst="rect">
            <a:avLst/>
          </a:prstGeom>
        </p:spPr>
      </p:pic>
      <p:pic>
        <p:nvPicPr>
          <p:cNvPr id="14" name="Logo_Engelsk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C8AFF1-1C2C-45FC-B0CA-7A469EC398A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8104" y="5526691"/>
            <a:ext cx="3523384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701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agent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99E0B6-AF8F-49CD-8556-3FB8C9E3F0B2}"/>
              </a:ext>
            </a:extLst>
          </p:cNvPr>
          <p:cNvSpPr/>
          <p:nvPr userDrawn="1"/>
        </p:nvSpPr>
        <p:spPr>
          <a:xfrm>
            <a:off x="0" y="0"/>
            <a:ext cx="477032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79813" y="3718786"/>
            <a:ext cx="6088750" cy="1807556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501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9813" y="5711531"/>
            <a:ext cx="6088751" cy="924816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4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2EB1E42-5BFA-4754-9DE3-D7F6F4C1E2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70329" y="0"/>
            <a:ext cx="7421671" cy="3429001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2" name="Logo_Nynorsk" hidden="1">
            <a:extLst>
              <a:ext uri="{FF2B5EF4-FFF2-40B4-BE49-F238E27FC236}">
                <a16:creationId xmlns:a16="http://schemas.microsoft.com/office/drawing/2014/main" id="{DE89401B-606B-47BD-8979-2C0DCB163A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104" y="5526691"/>
            <a:ext cx="2920333" cy="640800"/>
          </a:xfrm>
          <a:prstGeom prst="rect">
            <a:avLst/>
          </a:prstGeom>
        </p:spPr>
      </p:pic>
      <p:pic>
        <p:nvPicPr>
          <p:cNvPr id="13" name="Logo_Bokmal">
            <a:extLst>
              <a:ext uri="{FF2B5EF4-FFF2-40B4-BE49-F238E27FC236}">
                <a16:creationId xmlns:a16="http://schemas.microsoft.com/office/drawing/2014/main" id="{0B56F6B5-EAEF-41E8-AD98-716021E837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8104" y="5526691"/>
            <a:ext cx="2885640" cy="640800"/>
          </a:xfrm>
          <a:prstGeom prst="rect">
            <a:avLst/>
          </a:prstGeom>
        </p:spPr>
      </p:pic>
      <p:pic>
        <p:nvPicPr>
          <p:cNvPr id="14" name="Logo_Engelsk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C5AFD6B-3C07-4164-ACCE-CEA90EDBC70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28104" y="5526691"/>
            <a:ext cx="3523384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75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D51C861-99D2-6540-8E85-927B20E5C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8864600" cy="132556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F86B08D-0F14-4847-92B0-F02C3E2C1B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8864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1F35679-6B8A-0A4A-96DE-039647C8D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4BFFCDB-C46A-6B4A-8CD5-026714A7A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Grafikk 17">
            <a:extLst>
              <a:ext uri="{FF2B5EF4-FFF2-40B4-BE49-F238E27FC236}">
                <a16:creationId xmlns:a16="http://schemas.microsoft.com/office/drawing/2014/main" id="{2DF65B3B-D925-594F-B56F-0C8442C49BF2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36609">
            <a:off x="10360709" y="6684963"/>
            <a:ext cx="346075" cy="346075"/>
          </a:xfrm>
          <a:prstGeom prst="rect">
            <a:avLst/>
          </a:prstGeom>
        </p:spPr>
      </p:pic>
      <p:pic>
        <p:nvPicPr>
          <p:cNvPr id="12" name="Grafikk 25">
            <a:extLst>
              <a:ext uri="{FF2B5EF4-FFF2-40B4-BE49-F238E27FC236}">
                <a16:creationId xmlns:a16="http://schemas.microsoft.com/office/drawing/2014/main" id="{0C602C19-0290-E143-804A-1229370BE90C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0893784">
            <a:off x="11909274" y="5651137"/>
            <a:ext cx="496570" cy="496570"/>
          </a:xfrm>
          <a:prstGeom prst="rect">
            <a:avLst/>
          </a:prstGeom>
        </p:spPr>
      </p:pic>
      <p:pic>
        <p:nvPicPr>
          <p:cNvPr id="13" name="Grafikk 33">
            <a:extLst>
              <a:ext uri="{FF2B5EF4-FFF2-40B4-BE49-F238E27FC236}">
                <a16:creationId xmlns:a16="http://schemas.microsoft.com/office/drawing/2014/main" id="{69F994ED-9874-3E4A-A58E-FEA12D85F987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0893784">
            <a:off x="11399331" y="247534"/>
            <a:ext cx="497719" cy="497719"/>
          </a:xfrm>
          <a:prstGeom prst="rect">
            <a:avLst/>
          </a:prstGeom>
        </p:spPr>
      </p:pic>
      <p:pic>
        <p:nvPicPr>
          <p:cNvPr id="14" name="Grafikk 47">
            <a:extLst>
              <a:ext uri="{FF2B5EF4-FFF2-40B4-BE49-F238E27FC236}">
                <a16:creationId xmlns:a16="http://schemas.microsoft.com/office/drawing/2014/main" id="{0567C21E-3717-0E4B-8D13-3FC2CA220C94}"/>
              </a:ext>
            </a:extLst>
          </p:cNvPr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0893784">
            <a:off x="10852227" y="-351914"/>
            <a:ext cx="703827" cy="70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083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F92869C-9772-47D9-845D-6B42645CA52E}"/>
              </a:ext>
            </a:extLst>
          </p:cNvPr>
          <p:cNvSpPr/>
          <p:nvPr userDrawn="1"/>
        </p:nvSpPr>
        <p:spPr>
          <a:xfrm>
            <a:off x="8774440" y="3428901"/>
            <a:ext cx="3417560" cy="3428901"/>
          </a:xfrm>
          <a:prstGeom prst="rect">
            <a:avLst/>
          </a:prstGeom>
          <a:solidFill>
            <a:srgbClr val="D7D8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99E0B6-AF8F-49CD-8556-3FB8C9E3F0B2}"/>
              </a:ext>
            </a:extLst>
          </p:cNvPr>
          <p:cNvSpPr/>
          <p:nvPr userDrawn="1"/>
        </p:nvSpPr>
        <p:spPr>
          <a:xfrm>
            <a:off x="0" y="0"/>
            <a:ext cx="877444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632" y="545809"/>
            <a:ext cx="6088752" cy="1209054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E45E48B-E6F1-4C3E-925D-CA2D739891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3633" y="3233726"/>
            <a:ext cx="6088751" cy="2535659"/>
          </a:xfr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4501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713743B-AD24-4985-B576-5E39BB374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265" t="14706" r="2274" b="2510"/>
          <a:stretch/>
        </p:blipFill>
        <p:spPr>
          <a:xfrm>
            <a:off x="8774440" y="3429000"/>
            <a:ext cx="3417561" cy="3428901"/>
          </a:xfrm>
          <a:prstGeom prst="rect">
            <a:avLst/>
          </a:prstGeom>
        </p:spPr>
      </p:pic>
      <p:pic>
        <p:nvPicPr>
          <p:cNvPr id="13" name="Logo_Nynorsk" hidden="1">
            <a:extLst>
              <a:ext uri="{FF2B5EF4-FFF2-40B4-BE49-F238E27FC236}">
                <a16:creationId xmlns:a16="http://schemas.microsoft.com/office/drawing/2014/main" id="{8B31AB50-8C11-41BD-B220-7A801A8DD2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71159" y="576072"/>
            <a:ext cx="2378923" cy="522000"/>
          </a:xfrm>
          <a:prstGeom prst="rect">
            <a:avLst/>
          </a:prstGeom>
        </p:spPr>
      </p:pic>
      <p:pic>
        <p:nvPicPr>
          <p:cNvPr id="15" name="Logo_Bokmal">
            <a:extLst>
              <a:ext uri="{FF2B5EF4-FFF2-40B4-BE49-F238E27FC236}">
                <a16:creationId xmlns:a16="http://schemas.microsoft.com/office/drawing/2014/main" id="{D47E3DE3-B27D-4439-A13F-EA5BE0BC16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271159" y="576072"/>
            <a:ext cx="2350662" cy="522000"/>
          </a:xfrm>
          <a:prstGeom prst="rect">
            <a:avLst/>
          </a:prstGeom>
        </p:spPr>
      </p:pic>
      <p:pic>
        <p:nvPicPr>
          <p:cNvPr id="17" name="Logo_Engelsk" hidden="1">
            <a:extLst>
              <a:ext uri="{FF2B5EF4-FFF2-40B4-BE49-F238E27FC236}">
                <a16:creationId xmlns:a16="http://schemas.microsoft.com/office/drawing/2014/main" id="{17BA7F33-C434-4EA8-9C54-D52AE608B2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271159" y="576072"/>
            <a:ext cx="2870176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797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E5152BB-583B-4C69-8DC2-CE1C458FA6CF}"/>
              </a:ext>
            </a:extLst>
          </p:cNvPr>
          <p:cNvSpPr/>
          <p:nvPr userDrawn="1"/>
        </p:nvSpPr>
        <p:spPr>
          <a:xfrm>
            <a:off x="0" y="0"/>
            <a:ext cx="12192000" cy="6192511"/>
          </a:xfrm>
          <a:prstGeom prst="rect">
            <a:avLst/>
          </a:prstGeom>
          <a:solidFill>
            <a:srgbClr val="E3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3075" y="1038088"/>
            <a:ext cx="5625381" cy="1467307"/>
          </a:xfrm>
        </p:spPr>
        <p:txBody>
          <a:bodyPr lIns="0" tIns="0" rIns="0" bIns="0" anchor="b"/>
          <a:lstStyle>
            <a:lvl1pPr algn="l"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A4C5D1D-E213-4E5B-89E5-F30E3EBFCB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253075" y="2728805"/>
            <a:ext cx="5625381" cy="3091108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9478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4024" y="1318339"/>
            <a:ext cx="3576318" cy="4330947"/>
          </a:xfrm>
        </p:spPr>
        <p:txBody>
          <a:bodyPr lIns="0" tIns="0" rIns="0" bIns="0" anchor="t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A4C5D1D-E213-4E5B-89E5-F30E3EBFCB3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74225" y="1318340"/>
            <a:ext cx="6483751" cy="433094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9110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Magen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C21B1D73-A264-4DF4-AEE5-F8FE30E62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723" y="2017147"/>
            <a:ext cx="4665560" cy="2852737"/>
          </a:xfrm>
        </p:spPr>
        <p:txBody>
          <a:bodyPr anchor="ctr"/>
          <a:lstStyle>
            <a:lvl1pPr algn="l">
              <a:lnSpc>
                <a:spcPct val="95000"/>
              </a:lnSpc>
              <a:defRPr sz="32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1766" y="2239906"/>
            <a:ext cx="2047718" cy="2119524"/>
          </a:xfrm>
        </p:spPr>
        <p:txBody>
          <a:bodyPr anchor="ctr"/>
          <a:lstStyle>
            <a:lvl1pPr marL="0" indent="0" algn="ctr">
              <a:buNone/>
              <a:defRPr sz="9802">
                <a:solidFill>
                  <a:schemeClr val="bg1"/>
                </a:solidFill>
                <a:latin typeface="+mj-lt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1624052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øyejuste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1408834"/>
            <a:ext cx="4752166" cy="1668364"/>
          </a:xfrm>
        </p:spPr>
        <p:txBody>
          <a:bodyPr anchor="b"/>
          <a:lstStyle>
            <a:lvl1pPr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3407226"/>
            <a:ext cx="4752166" cy="247899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17A9E13-F7E7-4613-A0AF-07033F656B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23145" y="184171"/>
            <a:ext cx="5279918" cy="6484100"/>
          </a:xfrm>
          <a:prstGeom prst="roundRect">
            <a:avLst>
              <a:gd name="adj" fmla="val 1451"/>
            </a:avLst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232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strejuste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2302" y="1087518"/>
            <a:ext cx="5612863" cy="1668364"/>
          </a:xfrm>
        </p:spPr>
        <p:txBody>
          <a:bodyPr anchor="b"/>
          <a:lstStyle>
            <a:lvl1pPr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52302" y="3085910"/>
            <a:ext cx="5612862" cy="247899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17A9E13-F7E7-4613-A0AF-07033F656B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7919" y="184172"/>
            <a:ext cx="5276837" cy="5994922"/>
          </a:xfrm>
          <a:prstGeom prst="roundRect">
            <a:avLst>
              <a:gd name="adj" fmla="val 1451"/>
            </a:avLst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332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1408834"/>
            <a:ext cx="4752166" cy="1668364"/>
          </a:xfrm>
        </p:spPr>
        <p:txBody>
          <a:bodyPr anchor="b"/>
          <a:lstStyle>
            <a:lvl1pPr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3356998"/>
            <a:ext cx="4752166" cy="252922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17A9E13-F7E7-4613-A0AF-07033F656B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5999" y="185759"/>
            <a:ext cx="2577492" cy="2582475"/>
          </a:xfrm>
          <a:prstGeom prst="roundRect">
            <a:avLst>
              <a:gd name="adj" fmla="val 3114"/>
            </a:avLst>
          </a:prstGeom>
          <a:solidFill>
            <a:schemeClr val="accent5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A1A5E924-DB52-4919-9B8D-29211FEAE2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425421" y="185759"/>
            <a:ext cx="2577492" cy="2582475"/>
          </a:xfrm>
          <a:prstGeom prst="roundRect">
            <a:avLst>
              <a:gd name="adj" fmla="val 3114"/>
            </a:avLst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C72CF113-B192-4EB9-874A-3F1DDCAFB5E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19175" y="2886409"/>
            <a:ext cx="5283888" cy="3781863"/>
          </a:xfrm>
          <a:prstGeom prst="roundRect">
            <a:avLst>
              <a:gd name="adj" fmla="val 1954"/>
            </a:avLst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4775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logo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BBBFB3F-FDE3-4B10-AD54-19A9112C95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7691009" cy="6858000"/>
          </a:xfrm>
          <a:custGeom>
            <a:avLst/>
            <a:gdLst>
              <a:gd name="connsiteX0" fmla="*/ 1894280 w 15380016"/>
              <a:gd name="connsiteY0" fmla="*/ 9263574 h 13714413"/>
              <a:gd name="connsiteX1" fmla="*/ 5494408 w 15380016"/>
              <a:gd name="connsiteY1" fmla="*/ 9263574 h 13714413"/>
              <a:gd name="connsiteX2" fmla="*/ 6095060 w 15380016"/>
              <a:gd name="connsiteY2" fmla="*/ 9865481 h 13714413"/>
              <a:gd name="connsiteX3" fmla="*/ 6095060 w 15380016"/>
              <a:gd name="connsiteY3" fmla="*/ 13474405 h 13714413"/>
              <a:gd name="connsiteX4" fmla="*/ 6047684 w 15380016"/>
              <a:gd name="connsiteY4" fmla="*/ 13708406 h 13714413"/>
              <a:gd name="connsiteX5" fmla="*/ 6044420 w 15380016"/>
              <a:gd name="connsiteY5" fmla="*/ 13714413 h 13714413"/>
              <a:gd name="connsiteX6" fmla="*/ 1344560 w 15380016"/>
              <a:gd name="connsiteY6" fmla="*/ 13714413 h 13714413"/>
              <a:gd name="connsiteX7" fmla="*/ 1341008 w 15380016"/>
              <a:gd name="connsiteY7" fmla="*/ 13707876 h 13714413"/>
              <a:gd name="connsiteX8" fmla="*/ 1293632 w 15380016"/>
              <a:gd name="connsiteY8" fmla="*/ 13474405 h 13714413"/>
              <a:gd name="connsiteX9" fmla="*/ 1293632 w 15380016"/>
              <a:gd name="connsiteY9" fmla="*/ 9865481 h 13714413"/>
              <a:gd name="connsiteX10" fmla="*/ 1894280 w 15380016"/>
              <a:gd name="connsiteY10" fmla="*/ 9263574 h 13714413"/>
              <a:gd name="connsiteX11" fmla="*/ 0 w 15380016"/>
              <a:gd name="connsiteY11" fmla="*/ 4450837 h 13714413"/>
              <a:gd name="connsiteX12" fmla="*/ 698008 w 15380016"/>
              <a:gd name="connsiteY12" fmla="*/ 4450837 h 13714413"/>
              <a:gd name="connsiteX13" fmla="*/ 1298656 w 15380016"/>
              <a:gd name="connsiteY13" fmla="*/ 5052743 h 13714413"/>
              <a:gd name="connsiteX14" fmla="*/ 1298656 w 15380016"/>
              <a:gd name="connsiteY14" fmla="*/ 8661668 h 13714413"/>
              <a:gd name="connsiteX15" fmla="*/ 699264 w 15380016"/>
              <a:gd name="connsiteY15" fmla="*/ 9263574 h 13714413"/>
              <a:gd name="connsiteX16" fmla="*/ 0 w 15380016"/>
              <a:gd name="connsiteY16" fmla="*/ 9263574 h 13714413"/>
              <a:gd name="connsiteX17" fmla="*/ 10052844 w 15380016"/>
              <a:gd name="connsiteY17" fmla="*/ 0 h 13714413"/>
              <a:gd name="connsiteX18" fmla="*/ 15379960 w 15380016"/>
              <a:gd name="connsiteY18" fmla="*/ 0 h 13714413"/>
              <a:gd name="connsiteX19" fmla="*/ 15378324 w 15380016"/>
              <a:gd name="connsiteY19" fmla="*/ 3689 h 13714413"/>
              <a:gd name="connsiteX20" fmla="*/ 15312144 w 15380016"/>
              <a:gd name="connsiteY20" fmla="*/ 95498 h 13714413"/>
              <a:gd name="connsiteX21" fmla="*/ 9941480 w 15380016"/>
              <a:gd name="connsiteY21" fmla="*/ 6399807 h 13714413"/>
              <a:gd name="connsiteX22" fmla="*/ 9941480 w 15380016"/>
              <a:gd name="connsiteY22" fmla="*/ 7314605 h 13714413"/>
              <a:gd name="connsiteX23" fmla="*/ 15312144 w 15380016"/>
              <a:gd name="connsiteY23" fmla="*/ 13618913 h 13714413"/>
              <a:gd name="connsiteX24" fmla="*/ 15378376 w 15380016"/>
              <a:gd name="connsiteY24" fmla="*/ 13710723 h 13714413"/>
              <a:gd name="connsiteX25" fmla="*/ 15380016 w 15380016"/>
              <a:gd name="connsiteY25" fmla="*/ 13714413 h 13714413"/>
              <a:gd name="connsiteX26" fmla="*/ 10052848 w 15380016"/>
              <a:gd name="connsiteY26" fmla="*/ 13714413 h 13714413"/>
              <a:gd name="connsiteX27" fmla="*/ 9962840 w 15380016"/>
              <a:gd name="connsiteY27" fmla="*/ 13626452 h 13714413"/>
              <a:gd name="connsiteX28" fmla="*/ 6490884 w 15380016"/>
              <a:gd name="connsiteY28" fmla="*/ 9712177 h 13714413"/>
              <a:gd name="connsiteX29" fmla="*/ 6092544 w 15380016"/>
              <a:gd name="connsiteY29" fmla="*/ 8661668 h 13714413"/>
              <a:gd name="connsiteX30" fmla="*/ 6092544 w 15380016"/>
              <a:gd name="connsiteY30" fmla="*/ 5052743 h 13714413"/>
              <a:gd name="connsiteX31" fmla="*/ 6490884 w 15380016"/>
              <a:gd name="connsiteY31" fmla="*/ 4002235 h 13714413"/>
              <a:gd name="connsiteX32" fmla="*/ 9962840 w 15380016"/>
              <a:gd name="connsiteY32" fmla="*/ 87958 h 13714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5380016" h="13714413">
                <a:moveTo>
                  <a:pt x="1894280" y="9263574"/>
                </a:moveTo>
                <a:lnTo>
                  <a:pt x="5494408" y="9263574"/>
                </a:lnTo>
                <a:cubicBezTo>
                  <a:pt x="5824892" y="9263574"/>
                  <a:pt x="6095060" y="9534997"/>
                  <a:pt x="6095060" y="9865481"/>
                </a:cubicBezTo>
                <a:lnTo>
                  <a:pt x="6095060" y="13474405"/>
                </a:lnTo>
                <a:cubicBezTo>
                  <a:pt x="6095060" y="13557340"/>
                  <a:pt x="6078176" y="13636427"/>
                  <a:pt x="6047684" y="13708406"/>
                </a:cubicBezTo>
                <a:lnTo>
                  <a:pt x="6044420" y="13714413"/>
                </a:lnTo>
                <a:lnTo>
                  <a:pt x="1344560" y="13714413"/>
                </a:lnTo>
                <a:lnTo>
                  <a:pt x="1341008" y="13707876"/>
                </a:lnTo>
                <a:cubicBezTo>
                  <a:pt x="1310516" y="13635956"/>
                  <a:pt x="1293632" y="13557026"/>
                  <a:pt x="1293632" y="13474405"/>
                </a:cubicBezTo>
                <a:lnTo>
                  <a:pt x="1293632" y="9865481"/>
                </a:lnTo>
                <a:cubicBezTo>
                  <a:pt x="1293632" y="9533741"/>
                  <a:pt x="1563800" y="9263574"/>
                  <a:pt x="1894280" y="9263574"/>
                </a:cubicBezTo>
                <a:close/>
                <a:moveTo>
                  <a:pt x="0" y="4450837"/>
                </a:moveTo>
                <a:lnTo>
                  <a:pt x="698008" y="4450837"/>
                </a:lnTo>
                <a:cubicBezTo>
                  <a:pt x="1028492" y="4450837"/>
                  <a:pt x="1298656" y="4722260"/>
                  <a:pt x="1298656" y="5052743"/>
                </a:cubicBezTo>
                <a:lnTo>
                  <a:pt x="1298656" y="8661668"/>
                </a:lnTo>
                <a:cubicBezTo>
                  <a:pt x="1298656" y="8993408"/>
                  <a:pt x="1028492" y="9263574"/>
                  <a:pt x="699264" y="9263574"/>
                </a:cubicBezTo>
                <a:lnTo>
                  <a:pt x="0" y="9263574"/>
                </a:lnTo>
                <a:close/>
                <a:moveTo>
                  <a:pt x="10052844" y="0"/>
                </a:moveTo>
                <a:lnTo>
                  <a:pt x="15379960" y="0"/>
                </a:lnTo>
                <a:lnTo>
                  <a:pt x="15378324" y="3689"/>
                </a:lnTo>
                <a:cubicBezTo>
                  <a:pt x="15361012" y="33376"/>
                  <a:pt x="15339004" y="64083"/>
                  <a:pt x="15312144" y="95498"/>
                </a:cubicBezTo>
                <a:lnTo>
                  <a:pt x="9941480" y="6399807"/>
                </a:lnTo>
                <a:cubicBezTo>
                  <a:pt x="9726600" y="6651125"/>
                  <a:pt x="9726600" y="7063287"/>
                  <a:pt x="9941480" y="7314605"/>
                </a:cubicBezTo>
                <a:lnTo>
                  <a:pt x="15312144" y="13618913"/>
                </a:lnTo>
                <a:cubicBezTo>
                  <a:pt x="15339004" y="13650328"/>
                  <a:pt x="15361032" y="13681036"/>
                  <a:pt x="15378376" y="13710723"/>
                </a:cubicBezTo>
                <a:lnTo>
                  <a:pt x="15380016" y="13714413"/>
                </a:lnTo>
                <a:lnTo>
                  <a:pt x="10052848" y="13714413"/>
                </a:lnTo>
                <a:lnTo>
                  <a:pt x="9962840" y="13626452"/>
                </a:lnTo>
                <a:lnTo>
                  <a:pt x="6490884" y="9712177"/>
                </a:lnTo>
                <a:cubicBezTo>
                  <a:pt x="6272240" y="9465885"/>
                  <a:pt x="6092544" y="8992151"/>
                  <a:pt x="6092544" y="8661668"/>
                </a:cubicBezTo>
                <a:lnTo>
                  <a:pt x="6092544" y="5052743"/>
                </a:lnTo>
                <a:cubicBezTo>
                  <a:pt x="6092544" y="4722260"/>
                  <a:pt x="6270984" y="4249783"/>
                  <a:pt x="6490884" y="4002235"/>
                </a:cubicBezTo>
                <a:lnTo>
                  <a:pt x="9962840" y="87958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68872" y="963939"/>
            <a:ext cx="4049125" cy="2465061"/>
          </a:xfrm>
        </p:spPr>
        <p:txBody>
          <a:bodyPr anchor="b"/>
          <a:lstStyle>
            <a:lvl1pPr algn="l">
              <a:lnSpc>
                <a:spcPct val="95000"/>
              </a:lnSpc>
              <a:defRPr sz="325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035165-5EF3-45B7-A027-E8EFB411BA1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8573" y="3743758"/>
            <a:ext cx="4049446" cy="195285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pic>
        <p:nvPicPr>
          <p:cNvPr id="9" name="Logo_Nynorsk" hidden="1">
            <a:extLst>
              <a:ext uri="{FF2B5EF4-FFF2-40B4-BE49-F238E27FC236}">
                <a16:creationId xmlns:a16="http://schemas.microsoft.com/office/drawing/2014/main" id="{F6E08FB2-7589-46A4-8362-08DF78F710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8047" y="378047"/>
            <a:ext cx="2446846" cy="331212"/>
          </a:xfrm>
          <a:prstGeom prst="rect">
            <a:avLst/>
          </a:prstGeom>
        </p:spPr>
      </p:pic>
      <p:pic>
        <p:nvPicPr>
          <p:cNvPr id="11" name="Logo_Bokmal">
            <a:extLst>
              <a:ext uri="{FF2B5EF4-FFF2-40B4-BE49-F238E27FC236}">
                <a16:creationId xmlns:a16="http://schemas.microsoft.com/office/drawing/2014/main" id="{EF67A77F-7F81-4373-BEBF-69EFF64A035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47" y="378047"/>
            <a:ext cx="2446846" cy="332658"/>
          </a:xfrm>
          <a:prstGeom prst="rect">
            <a:avLst/>
          </a:prstGeom>
        </p:spPr>
      </p:pic>
      <p:pic>
        <p:nvPicPr>
          <p:cNvPr id="12" name="Logo_Engelsk" hidden="1">
            <a:extLst>
              <a:ext uri="{FF2B5EF4-FFF2-40B4-BE49-F238E27FC236}">
                <a16:creationId xmlns:a16="http://schemas.microsoft.com/office/drawing/2014/main" id="{EBF61FD3-F50C-4D36-8772-1CE9B9773A0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8047" y="378047"/>
            <a:ext cx="2446846" cy="329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350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Oransj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EB7895AB-85D8-47A8-B827-39BB2BC37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723" y="2017147"/>
            <a:ext cx="4665560" cy="2852737"/>
          </a:xfrm>
        </p:spPr>
        <p:txBody>
          <a:bodyPr anchor="ctr"/>
          <a:lstStyle>
            <a:lvl1pPr algn="l">
              <a:lnSpc>
                <a:spcPct val="95000"/>
              </a:lnSpc>
              <a:defRPr sz="32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1766" y="2239906"/>
            <a:ext cx="2047718" cy="2119524"/>
          </a:xfrm>
        </p:spPr>
        <p:txBody>
          <a:bodyPr anchor="ctr"/>
          <a:lstStyle>
            <a:lvl1pPr marL="0" indent="0" algn="ctr">
              <a:buNone/>
              <a:defRPr sz="9802">
                <a:solidFill>
                  <a:schemeClr val="bg1"/>
                </a:solidFill>
                <a:latin typeface="+mj-lt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938307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k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4227" y="1618922"/>
            <a:ext cx="5128722" cy="342282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4" y="1618922"/>
            <a:ext cx="3811153" cy="1149312"/>
          </a:xfrm>
        </p:spPr>
        <p:txBody>
          <a:bodyPr lIns="0" tIns="0" rIns="0" bIns="0" anchor="b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E1C812-D051-429E-AEBF-6E98F129D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053115"/>
            <a:ext cx="3806976" cy="19886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753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5ACD1D1-2624-5741-9D80-50E46A8C2A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054130"/>
            <a:ext cx="8728710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nb-NO"/>
              <a:t>Mellomtitte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0E3C672-3E0F-A544-9752-E814ED0D60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933855"/>
            <a:ext cx="872871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bunntekst 4">
            <a:extLst>
              <a:ext uri="{FF2B5EF4-FFF2-40B4-BE49-F238E27FC236}">
                <a16:creationId xmlns:a16="http://schemas.microsoft.com/office/drawing/2014/main" id="{A4990EB0-2CC0-1F4C-AED1-EF82EB37B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E6ADD6E6-D279-6247-AD35-109C7C433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6013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Grå"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6AECCF-9723-494B-B4D9-58443A201F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423" y="2088533"/>
            <a:ext cx="5116021" cy="2002026"/>
          </a:xfrm>
        </p:spPr>
        <p:txBody>
          <a:bodyPr anchor="ctr"/>
          <a:lstStyle>
            <a:lvl1pPr marL="0" indent="0">
              <a:lnSpc>
                <a:spcPct val="101000"/>
              </a:lnSpc>
              <a:buNone/>
              <a:defRPr sz="250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19B7F6F-5702-48E8-B3EA-B9930E32B7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48448" y="1460779"/>
            <a:ext cx="663583" cy="442382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0D13ABF-2CE0-4FC1-84CA-4404703649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7423" y="4199430"/>
            <a:ext cx="5116021" cy="1084381"/>
          </a:xfrm>
        </p:spPr>
        <p:txBody>
          <a:bodyPr anchor="t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800"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44903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6B7C253-D494-425F-8E12-1FBF9BD571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1766" y="2239906"/>
            <a:ext cx="2047718" cy="2119524"/>
          </a:xfrm>
        </p:spPr>
        <p:txBody>
          <a:bodyPr anchor="ctr"/>
          <a:lstStyle>
            <a:lvl1pPr marL="0" indent="0" algn="ctr">
              <a:buNone/>
              <a:defRPr sz="9802">
                <a:solidFill>
                  <a:schemeClr val="bg1"/>
                </a:solidFill>
                <a:latin typeface="+mj-lt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723" y="2017147"/>
            <a:ext cx="4665560" cy="2852737"/>
          </a:xfrm>
        </p:spPr>
        <p:txBody>
          <a:bodyPr anchor="ctr"/>
          <a:lstStyle>
            <a:lvl1pPr algn="l">
              <a:lnSpc>
                <a:spcPct val="95000"/>
              </a:lnSpc>
              <a:defRPr sz="32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6925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på helside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82B9B40-30E0-4E21-965F-A2823E9192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7909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4" y="1618922"/>
            <a:ext cx="3811153" cy="1297610"/>
          </a:xfrm>
        </p:spPr>
        <p:txBody>
          <a:bodyPr lIns="0" tIns="0" rIns="0" bIns="0" anchor="b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E1C812-D051-429E-AEBF-6E98F129D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99636"/>
            <a:ext cx="3806976" cy="1742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2213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på helsidebil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82B9B40-30E0-4E21-965F-A2823E9192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7909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4" y="1618922"/>
            <a:ext cx="3811153" cy="1297610"/>
          </a:xfrm>
        </p:spPr>
        <p:txBody>
          <a:bodyPr lIns="0" tIns="0" rIns="0" bIns="0" anchor="b"/>
          <a:lstStyle>
            <a:lvl1pPr algn="l">
              <a:lnSpc>
                <a:spcPct val="95000"/>
              </a:lnSpc>
              <a:defRPr sz="32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E1C812-D051-429E-AEBF-6E98F129D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99636"/>
            <a:ext cx="3806976" cy="17421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63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på helsidebil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82B9B40-30E0-4E21-965F-A2823E9192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7909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4" y="1618922"/>
            <a:ext cx="3811153" cy="1297610"/>
          </a:xfrm>
        </p:spPr>
        <p:txBody>
          <a:bodyPr lIns="0" tIns="0" rIns="0" bIns="0" anchor="b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E1C812-D051-429E-AEBF-6E98F129D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3299636"/>
            <a:ext cx="3806976" cy="1742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7525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Lys oransj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B99C163-094C-40E5-8AEE-D2FCABF6EA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723" y="2017147"/>
            <a:ext cx="4665560" cy="2852737"/>
          </a:xfrm>
        </p:spPr>
        <p:txBody>
          <a:bodyPr anchor="ctr"/>
          <a:lstStyle>
            <a:lvl1pPr algn="l">
              <a:lnSpc>
                <a:spcPct val="95000"/>
              </a:lnSpc>
              <a:defRPr sz="3251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1766" y="2239906"/>
            <a:ext cx="2047718" cy="2119524"/>
          </a:xfrm>
        </p:spPr>
        <p:txBody>
          <a:bodyPr anchor="ctr"/>
          <a:lstStyle>
            <a:lvl1pPr marL="0" indent="0" algn="ctr">
              <a:buNone/>
              <a:defRPr sz="9802">
                <a:solidFill>
                  <a:schemeClr val="bg1"/>
                </a:solidFill>
                <a:latin typeface="+mj-lt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848708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fikk ku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F8D6F1E-B931-4AF4-8189-9ACF9920D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0835" y="1148518"/>
            <a:ext cx="6130330" cy="1193120"/>
          </a:xfrm>
        </p:spPr>
        <p:txBody>
          <a:bodyPr lIns="0" tIns="0" rIns="0" bIns="0" anchor="b"/>
          <a:lstStyle>
            <a:lvl1pPr algn="ctr">
              <a:defRPr sz="300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CC00B02-8BEA-417A-B643-A932EB640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30835" y="4414787"/>
            <a:ext cx="6130330" cy="129469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53CFD7-34EE-4B87-9476-EE8CA7418D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30835" y="2341638"/>
            <a:ext cx="6130331" cy="2073149"/>
          </a:xfrm>
        </p:spPr>
        <p:txBody>
          <a:bodyPr anchor="t"/>
          <a:lstStyle>
            <a:lvl1pPr marL="0" indent="0" algn="ctr">
              <a:buNone/>
              <a:defRPr sz="11102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b-NO" sz="11102">
                <a:latin typeface="+mj-lt"/>
              </a:rPr>
              <a:t>00 %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836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fografikk m ikon Magen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B3137B3-787D-4741-BA8B-B86AE9D66FDD}"/>
              </a:ext>
            </a:extLst>
          </p:cNvPr>
          <p:cNvCxnSpPr>
            <a:cxnSpLocks/>
          </p:cNvCxnSpPr>
          <p:nvPr userDrawn="1"/>
        </p:nvCxnSpPr>
        <p:spPr>
          <a:xfrm>
            <a:off x="4146747" y="1811916"/>
            <a:ext cx="2883" cy="3236918"/>
          </a:xfrm>
          <a:prstGeom prst="line">
            <a:avLst/>
          </a:prstGeom>
          <a:ln w="317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56D2D3-BB59-43FA-A2DB-7A2358E8FAF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424037" y="2341834"/>
            <a:ext cx="1972748" cy="197349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1F3D8E8-3DD2-4E65-89DE-97440FE0C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9694" y="1109326"/>
            <a:ext cx="6114596" cy="1176939"/>
          </a:xfrm>
        </p:spPr>
        <p:txBody>
          <a:bodyPr lIns="0" tIns="0" rIns="0" bIns="0" anchor="b"/>
          <a:lstStyle>
            <a:lvl1pPr algn="l">
              <a:defRPr sz="300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AF40953-A05E-4713-917A-05D0E58A1F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9693" y="3945920"/>
            <a:ext cx="6118303" cy="180275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C4D4F10-9AFF-4572-9A82-7FD5B950A1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99692" y="2286265"/>
            <a:ext cx="6114596" cy="1659655"/>
          </a:xfrm>
        </p:spPr>
        <p:txBody>
          <a:bodyPr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102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b-NO" sz="11102">
                <a:latin typeface="+mj-lt"/>
              </a:rPr>
              <a:t>00 00</a:t>
            </a:r>
            <a:endParaRPr lang="en-US"/>
          </a:p>
        </p:txBody>
      </p:sp>
      <p:pic>
        <p:nvPicPr>
          <p:cNvPr id="4" name="Logo_Engelsk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DED655EF-014B-4F89-B3F4-D61EB3ED3A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8047" y="6300788"/>
            <a:ext cx="2457852" cy="331200"/>
          </a:xfrm>
          <a:prstGeom prst="rect">
            <a:avLst/>
          </a:prstGeom>
        </p:spPr>
      </p:pic>
      <p:pic>
        <p:nvPicPr>
          <p:cNvPr id="9" name="Logo_Nynorsk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D9F4855C-ABB4-4A3C-8706-0C604B77566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8047" y="6300788"/>
            <a:ext cx="2446759" cy="331200"/>
          </a:xfrm>
          <a:prstGeom prst="rect">
            <a:avLst/>
          </a:prstGeom>
        </p:spPr>
      </p:pic>
      <p:pic>
        <p:nvPicPr>
          <p:cNvPr id="13" name="Logo_Bokmal" descr="Et bilde som inneholder tekst&#10;&#10;Automatisk generert beskrivelse">
            <a:extLst>
              <a:ext uri="{FF2B5EF4-FFF2-40B4-BE49-F238E27FC236}">
                <a16:creationId xmlns:a16="http://schemas.microsoft.com/office/drawing/2014/main" id="{872F05C6-215E-471C-B072-828613345D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47" y="6300788"/>
            <a:ext cx="2436125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8325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fikk m ikon Hvi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B3137B3-787D-4741-BA8B-B86AE9D66FDD}"/>
              </a:ext>
            </a:extLst>
          </p:cNvPr>
          <p:cNvCxnSpPr>
            <a:cxnSpLocks/>
          </p:cNvCxnSpPr>
          <p:nvPr userDrawn="1"/>
        </p:nvCxnSpPr>
        <p:spPr>
          <a:xfrm>
            <a:off x="4146747" y="1811916"/>
            <a:ext cx="2883" cy="3236918"/>
          </a:xfrm>
          <a:prstGeom prst="line">
            <a:avLst/>
          </a:prstGeom>
          <a:ln w="317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656D2D3-BB59-43FA-A2DB-7A2358E8FAF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424037" y="2341834"/>
            <a:ext cx="1972748" cy="197349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A74BBCC-3F15-47E0-84F6-245B1F2A78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99692" y="2286265"/>
            <a:ext cx="6114596" cy="1659655"/>
          </a:xfrm>
        </p:spPr>
        <p:txBody>
          <a:bodyPr anchor="b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102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b-NO" sz="11102">
                <a:latin typeface="+mj-lt"/>
              </a:rPr>
              <a:t>00 00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378BCC-7B93-483B-A371-053968E6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9694" y="1109326"/>
            <a:ext cx="6114596" cy="1176939"/>
          </a:xfrm>
        </p:spPr>
        <p:txBody>
          <a:bodyPr lIns="0" tIns="0" rIns="0" bIns="0" anchor="b"/>
          <a:lstStyle>
            <a:lvl1pPr algn="l">
              <a:defRPr sz="300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9DB3CF9-C520-43A1-B535-2D795F8121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9693" y="3945920"/>
            <a:ext cx="6118303" cy="180275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341833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Lilla">
    <p:bg>
      <p:bgPr>
        <a:solidFill>
          <a:srgbClr val="9B3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3EA6D88-2375-4AB6-B864-3A3412B052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723" y="2017147"/>
            <a:ext cx="4665560" cy="2852737"/>
          </a:xfrm>
        </p:spPr>
        <p:txBody>
          <a:bodyPr anchor="ctr"/>
          <a:lstStyle>
            <a:lvl1pPr algn="l">
              <a:lnSpc>
                <a:spcPct val="95000"/>
              </a:lnSpc>
              <a:defRPr sz="32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1766" y="2239906"/>
            <a:ext cx="2047718" cy="2119524"/>
          </a:xfrm>
        </p:spPr>
        <p:txBody>
          <a:bodyPr anchor="ctr"/>
          <a:lstStyle>
            <a:lvl1pPr marL="0" indent="0" algn="ctr">
              <a:buNone/>
              <a:defRPr sz="9802">
                <a:solidFill>
                  <a:schemeClr val="bg1"/>
                </a:solidFill>
                <a:latin typeface="+mj-lt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1531970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A3D9D72-6E11-9F40-B947-24F735E1E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58F0B3-40D4-4644-900C-9C70679AFC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4DA69EA-73C7-9446-8093-294912272C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FD3E21A5-AEF4-F842-B98B-2A21D96C1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107430E7-F40E-FD4D-866C-B3BD76F8D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Grafikk 17">
            <a:extLst>
              <a:ext uri="{FF2B5EF4-FFF2-40B4-BE49-F238E27FC236}">
                <a16:creationId xmlns:a16="http://schemas.microsoft.com/office/drawing/2014/main" id="{79FE5EBA-C967-EB41-AC8C-A6F67C1C8537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36609">
            <a:off x="11667244" y="4838347"/>
            <a:ext cx="346075" cy="346075"/>
          </a:xfrm>
          <a:prstGeom prst="rect">
            <a:avLst/>
          </a:prstGeom>
        </p:spPr>
      </p:pic>
      <p:pic>
        <p:nvPicPr>
          <p:cNvPr id="11" name="Grafikk 25">
            <a:extLst>
              <a:ext uri="{FF2B5EF4-FFF2-40B4-BE49-F238E27FC236}">
                <a16:creationId xmlns:a16="http://schemas.microsoft.com/office/drawing/2014/main" id="{EEF4ECB2-BE21-A84D-944B-433F225D4259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0893784">
            <a:off x="11909274" y="5651137"/>
            <a:ext cx="496570" cy="496570"/>
          </a:xfrm>
          <a:prstGeom prst="rect">
            <a:avLst/>
          </a:prstGeom>
        </p:spPr>
      </p:pic>
      <p:pic>
        <p:nvPicPr>
          <p:cNvPr id="12" name="Grafikk 33">
            <a:extLst>
              <a:ext uri="{FF2B5EF4-FFF2-40B4-BE49-F238E27FC236}">
                <a16:creationId xmlns:a16="http://schemas.microsoft.com/office/drawing/2014/main" id="{160C4B8A-1B69-694D-983A-C894C388E4AA}"/>
              </a:ext>
            </a:extLst>
          </p:cNvPr>
          <p:cNvPicPr/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 rot="20893784">
            <a:off x="10723692" y="116265"/>
            <a:ext cx="497719" cy="497719"/>
          </a:xfrm>
          <a:prstGeom prst="rect">
            <a:avLst/>
          </a:prstGeom>
        </p:spPr>
      </p:pic>
      <p:pic>
        <p:nvPicPr>
          <p:cNvPr id="14" name="Grafikk 33">
            <a:extLst>
              <a:ext uri="{FF2B5EF4-FFF2-40B4-BE49-F238E27FC236}">
                <a16:creationId xmlns:a16="http://schemas.microsoft.com/office/drawing/2014/main" id="{7AFC24BC-0405-B74F-A8EA-F75D1FA1F0F2}"/>
              </a:ext>
            </a:extLst>
          </p:cNvPr>
          <p:cNvPicPr/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 rot="1451291">
            <a:off x="11392137" y="560792"/>
            <a:ext cx="249012" cy="24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1369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m på T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146F970E-C338-4A18-8470-EA3B489978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96" t="596"/>
          <a:stretch/>
        </p:blipFill>
        <p:spPr>
          <a:xfrm>
            <a:off x="0" y="0"/>
            <a:ext cx="12192000" cy="618471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149312"/>
            <a:ext cx="3355462" cy="1940681"/>
          </a:xfrm>
        </p:spPr>
        <p:txBody>
          <a:bodyPr lIns="0" tIns="0" rIns="0" bIns="0" anchor="b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E1C812-D051-429E-AEBF-6E98F129D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3386143"/>
            <a:ext cx="3355462" cy="1988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94CD37-2AD7-4704-B0CD-550F6BA8F9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25015" y="1281261"/>
            <a:ext cx="6554053" cy="3748521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0518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ende fil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B93E19-FF3B-475E-9536-609C20EECD1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0"/>
            <a:ext cx="12192000" cy="68579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ED767E5-FDAA-4B00-A0F6-958711D80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898560"/>
            <a:ext cx="3985150" cy="2021958"/>
          </a:xfrm>
        </p:spPr>
        <p:txBody>
          <a:bodyPr lIns="0" tIns="0" rIns="0" bIns="0" anchor="t"/>
          <a:lstStyle>
            <a:lvl1pPr algn="l">
              <a:lnSpc>
                <a:spcPct val="95000"/>
              </a:lnSpc>
              <a:defRPr sz="325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5134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Hvi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6AECCF-9723-494B-B4D9-58443A201F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423" y="2088533"/>
            <a:ext cx="5116021" cy="2002026"/>
          </a:xfrm>
        </p:spPr>
        <p:txBody>
          <a:bodyPr anchor="ctr"/>
          <a:lstStyle>
            <a:lvl1pPr marL="0" indent="0">
              <a:lnSpc>
                <a:spcPct val="101000"/>
              </a:lnSpc>
              <a:buNone/>
              <a:defRPr sz="250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19B7F6F-5702-48E8-B3EA-B9930E32B7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48448" y="1460779"/>
            <a:ext cx="663583" cy="442382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0D13ABF-2CE0-4FC1-84CA-4404703649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7423" y="4199430"/>
            <a:ext cx="5116021" cy="1084381"/>
          </a:xfrm>
        </p:spPr>
        <p:txBody>
          <a:bodyPr anchor="t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800"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147570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Grå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DFE58BBF-0212-4054-A4FC-8C1C08F206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723" y="2017147"/>
            <a:ext cx="4665560" cy="2852737"/>
          </a:xfrm>
        </p:spPr>
        <p:txBody>
          <a:bodyPr anchor="ctr"/>
          <a:lstStyle>
            <a:lvl1pPr algn="l">
              <a:lnSpc>
                <a:spcPct val="95000"/>
              </a:lnSpc>
              <a:defRPr sz="325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1766" y="2239906"/>
            <a:ext cx="2047718" cy="2119524"/>
          </a:xfrm>
        </p:spPr>
        <p:txBody>
          <a:bodyPr anchor="ctr"/>
          <a:lstStyle>
            <a:lvl1pPr marL="0" indent="0" algn="ctr">
              <a:buNone/>
              <a:defRPr sz="9802">
                <a:solidFill>
                  <a:schemeClr val="bg1"/>
                </a:solidFill>
                <a:latin typeface="+mj-lt"/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640178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Magen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6AECCF-9723-494B-B4D9-58443A201F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423" y="2088533"/>
            <a:ext cx="5116021" cy="2002026"/>
          </a:xfrm>
        </p:spPr>
        <p:txBody>
          <a:bodyPr anchor="ctr"/>
          <a:lstStyle>
            <a:lvl1pPr marL="0" indent="0">
              <a:lnSpc>
                <a:spcPct val="101000"/>
              </a:lnSpc>
              <a:buNone/>
              <a:defRPr sz="250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19B7F6F-5702-48E8-B3EA-B9930E32B7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48448" y="1460779"/>
            <a:ext cx="663583" cy="442382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0D13ABF-2CE0-4FC1-84CA-4404703649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87423" y="4199430"/>
            <a:ext cx="5116021" cy="1084381"/>
          </a:xfrm>
        </p:spPr>
        <p:txBody>
          <a:bodyPr anchor="t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Poppins Medium" panose="00000600000000000000" pitchFamily="2" charset="0"/>
                <a:cs typeface="Poppins Medium" panose="00000600000000000000" pitchFamily="2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Logo_Engelsk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6DCAF64A-43E3-47CF-949D-4CC71EF885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8047" y="6300788"/>
            <a:ext cx="2457852" cy="331200"/>
          </a:xfrm>
          <a:prstGeom prst="rect">
            <a:avLst/>
          </a:prstGeom>
        </p:spPr>
      </p:pic>
      <p:pic>
        <p:nvPicPr>
          <p:cNvPr id="12" name="Logo_Nynorsk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832509F-8C84-4441-8E9C-7288EBC0B37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8047" y="6300788"/>
            <a:ext cx="2446759" cy="331200"/>
          </a:xfrm>
          <a:prstGeom prst="rect">
            <a:avLst/>
          </a:prstGeom>
        </p:spPr>
      </p:pic>
      <p:pic>
        <p:nvPicPr>
          <p:cNvPr id="14" name="Logo_Bokmal" descr="Et bilde som inneholder tekst&#10;&#10;Automatisk generert beskrivelse">
            <a:extLst>
              <a:ext uri="{FF2B5EF4-FFF2-40B4-BE49-F238E27FC236}">
                <a16:creationId xmlns:a16="http://schemas.microsoft.com/office/drawing/2014/main" id="{4F920E7C-91F8-4F18-9249-D2076561D77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78047" y="6300788"/>
            <a:ext cx="2436125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7141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ext, letter&#10;&#10;Description automatically generated" hidden="1">
            <a:extLst>
              <a:ext uri="{FF2B5EF4-FFF2-40B4-BE49-F238E27FC236}">
                <a16:creationId xmlns:a16="http://schemas.microsoft.com/office/drawing/2014/main" id="{8B82A6BD-8176-4922-BE14-3FC22CB90B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00" cy="68579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C99E0B6-AF8F-49CD-8556-3FB8C9E3F0B2}"/>
              </a:ext>
            </a:extLst>
          </p:cNvPr>
          <p:cNvSpPr/>
          <p:nvPr userDrawn="1"/>
        </p:nvSpPr>
        <p:spPr>
          <a:xfrm>
            <a:off x="0" y="3429000"/>
            <a:ext cx="7835204" cy="3429000"/>
          </a:xfrm>
          <a:prstGeom prst="rect">
            <a:avLst/>
          </a:prstGeom>
          <a:solidFill>
            <a:srgbClr val="D7D8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6430" y="4366052"/>
            <a:ext cx="5255054" cy="1924264"/>
          </a:xfrm>
        </p:spPr>
        <p:txBody>
          <a:bodyPr anchor="t">
            <a:normAutofit/>
          </a:bodyPr>
          <a:lstStyle>
            <a:lvl1pPr algn="l">
              <a:lnSpc>
                <a:spcPct val="93000"/>
              </a:lnSpc>
              <a:defRPr sz="3701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5CDC50A-A131-4A6F-AF36-632B293F03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3667" t="1922" r="1055" b="2448"/>
          <a:stretch/>
        </p:blipFill>
        <p:spPr>
          <a:xfrm>
            <a:off x="7835204" y="0"/>
            <a:ext cx="4356796" cy="6857950"/>
          </a:xfrm>
          <a:prstGeom prst="rect">
            <a:avLst/>
          </a:prstGeom>
        </p:spPr>
      </p:pic>
      <p:pic>
        <p:nvPicPr>
          <p:cNvPr id="8" name="Logo_Bokmal" descr="Shape&#10;&#10;Description automatically generated with medium confidence">
            <a:extLst>
              <a:ext uri="{FF2B5EF4-FFF2-40B4-BE49-F238E27FC236}">
                <a16:creationId xmlns:a16="http://schemas.microsoft.com/office/drawing/2014/main" id="{6AD909EE-4710-4ABB-9692-6F31E651C3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081" y="221443"/>
            <a:ext cx="4367732" cy="1733755"/>
          </a:xfrm>
          <a:prstGeom prst="rect">
            <a:avLst/>
          </a:prstGeom>
        </p:spPr>
      </p:pic>
      <p:pic>
        <p:nvPicPr>
          <p:cNvPr id="11" name="Logo_Engelsk" descr="A picture containing text&#10;&#10;Description automatically generated" hidden="1">
            <a:extLst>
              <a:ext uri="{FF2B5EF4-FFF2-40B4-BE49-F238E27FC236}">
                <a16:creationId xmlns:a16="http://schemas.microsoft.com/office/drawing/2014/main" id="{7747D126-5E3B-49C3-B681-DFFB5AF5747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081" y="221443"/>
            <a:ext cx="5125059" cy="1733755"/>
          </a:xfrm>
          <a:prstGeom prst="rect">
            <a:avLst/>
          </a:prstGeom>
        </p:spPr>
      </p:pic>
      <p:pic>
        <p:nvPicPr>
          <p:cNvPr id="12" name="Logo_Nynorsk" hidden="1">
            <a:extLst>
              <a:ext uri="{FF2B5EF4-FFF2-40B4-BE49-F238E27FC236}">
                <a16:creationId xmlns:a16="http://schemas.microsoft.com/office/drawing/2014/main" id="{3782B21E-4C6E-40B1-9CAA-D6B2FBE2ADD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081" y="221444"/>
            <a:ext cx="4408217" cy="173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3989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19B7C6-E9D6-4A49-829A-7A2A8BA35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CDE4825D-E477-BD42-8D07-497840A15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488DB039-7353-2E4F-960D-165617BD0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4813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gerik bakgrunn - to bilder">
    <p:bg>
      <p:bgPr>
        <a:solidFill>
          <a:srgbClr val="D3CE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65410772-4E10-FC4F-B9A9-D59D2C1BB35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F026726A-8967-CB43-A38D-A1879DF544C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6653E4F7-C766-3944-A1D3-353225DED2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45899">
            <a:off x="3275526" y="-157607"/>
            <a:ext cx="366015" cy="366015"/>
          </a:xfrm>
          <a:prstGeom prst="rect">
            <a:avLst/>
          </a:prstGeom>
        </p:spPr>
      </p:pic>
      <p:pic>
        <p:nvPicPr>
          <p:cNvPr id="12" name="Grafikk 11">
            <a:extLst>
              <a:ext uri="{FF2B5EF4-FFF2-40B4-BE49-F238E27FC236}">
                <a16:creationId xmlns:a16="http://schemas.microsoft.com/office/drawing/2014/main" id="{F81E854D-AE10-C346-81C3-250619933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379378">
            <a:off x="3925487" y="269574"/>
            <a:ext cx="366015" cy="366015"/>
          </a:xfrm>
          <a:prstGeom prst="rect">
            <a:avLst/>
          </a:prstGeom>
        </p:spPr>
      </p:pic>
      <p:pic>
        <p:nvPicPr>
          <p:cNvPr id="13" name="Grafikk 12">
            <a:extLst>
              <a:ext uri="{FF2B5EF4-FFF2-40B4-BE49-F238E27FC236}">
                <a16:creationId xmlns:a16="http://schemas.microsoft.com/office/drawing/2014/main" id="{36505081-3F24-1843-BD22-A9A00F38A6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3300" y="4736144"/>
            <a:ext cx="381000" cy="381000"/>
          </a:xfrm>
          <a:prstGeom prst="rect">
            <a:avLst/>
          </a:prstGeom>
        </p:spPr>
      </p:pic>
      <p:pic>
        <p:nvPicPr>
          <p:cNvPr id="14" name="Grafikk 13">
            <a:extLst>
              <a:ext uri="{FF2B5EF4-FFF2-40B4-BE49-F238E27FC236}">
                <a16:creationId xmlns:a16="http://schemas.microsoft.com/office/drawing/2014/main" id="{AC507E7A-2E1D-7946-86F5-63E57468D8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39090" y="4203703"/>
            <a:ext cx="381000" cy="381000"/>
          </a:xfrm>
          <a:prstGeom prst="rect">
            <a:avLst/>
          </a:prstGeom>
        </p:spPr>
      </p:pic>
      <p:sp>
        <p:nvSpPr>
          <p:cNvPr id="6" name="Plassholder for bilde 5" descr="Klikk for å sette inn bilde">
            <a:extLst>
              <a:ext uri="{FF2B5EF4-FFF2-40B4-BE49-F238E27FC236}">
                <a16:creationId xmlns:a16="http://schemas.microsoft.com/office/drawing/2014/main" id="{1986D7BB-4204-3240-9B9D-E451BCD6206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49" y="903823"/>
            <a:ext cx="5056523" cy="47022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7" name="Plassholder for bilde 5" descr="Klikk for å sette inn bilde">
            <a:extLst>
              <a:ext uri="{FF2B5EF4-FFF2-40B4-BE49-F238E27FC236}">
                <a16:creationId xmlns:a16="http://schemas.microsoft.com/office/drawing/2014/main" id="{EC798FB8-4305-B54C-8178-5EEDED418A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80230" y="903823"/>
            <a:ext cx="5056523" cy="47022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4026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gerik bakgrunn - ett bilde">
    <p:bg>
      <p:bgPr>
        <a:solidFill>
          <a:srgbClr val="D3CE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>
            <a:extLst>
              <a:ext uri="{FF2B5EF4-FFF2-40B4-BE49-F238E27FC236}">
                <a16:creationId xmlns:a16="http://schemas.microsoft.com/office/drawing/2014/main" id="{654CCA71-83C2-B742-8104-831099CEF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7527057F-641C-D34F-8475-C3F9111B0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0AC71E00-878B-C849-8977-AD72F6C154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45899">
            <a:off x="3275526" y="-157607"/>
            <a:ext cx="366015" cy="366015"/>
          </a:xfrm>
          <a:prstGeom prst="rect">
            <a:avLst/>
          </a:prstGeom>
        </p:spPr>
      </p:pic>
      <p:pic>
        <p:nvPicPr>
          <p:cNvPr id="8" name="Grafikk 7">
            <a:extLst>
              <a:ext uri="{FF2B5EF4-FFF2-40B4-BE49-F238E27FC236}">
                <a16:creationId xmlns:a16="http://schemas.microsoft.com/office/drawing/2014/main" id="{535C0825-0D2F-924E-9B31-604E25637A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379378">
            <a:off x="3925487" y="269574"/>
            <a:ext cx="366015" cy="366015"/>
          </a:xfrm>
          <a:prstGeom prst="rect">
            <a:avLst/>
          </a:prstGeom>
        </p:spPr>
      </p:pic>
      <p:pic>
        <p:nvPicPr>
          <p:cNvPr id="9" name="Grafikk 8">
            <a:extLst>
              <a:ext uri="{FF2B5EF4-FFF2-40B4-BE49-F238E27FC236}">
                <a16:creationId xmlns:a16="http://schemas.microsoft.com/office/drawing/2014/main" id="{EBC867F2-D9C9-C241-9CAF-91147A2C87D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63300" y="4736144"/>
            <a:ext cx="381000" cy="381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696F8ACD-4A33-964C-B1DB-53575BFD95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439090" y="4203703"/>
            <a:ext cx="381000" cy="381000"/>
          </a:xfrm>
          <a:prstGeom prst="rect">
            <a:avLst/>
          </a:prstGeom>
        </p:spPr>
      </p:pic>
      <p:sp>
        <p:nvSpPr>
          <p:cNvPr id="6" name="Plassholder for bilde 5" descr="Klikk for å sette inn bilde">
            <a:extLst>
              <a:ext uri="{FF2B5EF4-FFF2-40B4-BE49-F238E27FC236}">
                <a16:creationId xmlns:a16="http://schemas.microsoft.com/office/drawing/2014/main" id="{1986D7BB-4204-3240-9B9D-E451BCD6206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49" y="903823"/>
            <a:ext cx="10481504" cy="470227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4895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bg>
      <p:bgPr>
        <a:solidFill>
          <a:srgbClr val="D3CE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ED26FC25-FC80-694D-BF29-519254726F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52675" y="1556203"/>
            <a:ext cx="7486650" cy="2214139"/>
          </a:xfrm>
        </p:spPr>
        <p:txBody>
          <a:bodyPr anchor="b"/>
          <a:lstStyle>
            <a:lvl1pPr marL="0" indent="0" algn="ctr">
              <a:lnSpc>
                <a:spcPct val="150000"/>
              </a:lnSpc>
              <a:buNone/>
              <a:defRPr b="0" i="0">
                <a:solidFill>
                  <a:srgbClr val="2F425D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nb-NO"/>
              <a:t>Uthevet tekst eller sitat</a:t>
            </a:r>
          </a:p>
        </p:txBody>
      </p:sp>
      <p:sp>
        <p:nvSpPr>
          <p:cNvPr id="7" name="Plassholder for tekst 5">
            <a:extLst>
              <a:ext uri="{FF2B5EF4-FFF2-40B4-BE49-F238E27FC236}">
                <a16:creationId xmlns:a16="http://schemas.microsoft.com/office/drawing/2014/main" id="{E2032842-B184-764D-B86E-3FA08488F3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25111" y="3898335"/>
            <a:ext cx="5741778" cy="49374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b="0" i="1">
                <a:solidFill>
                  <a:srgbClr val="2F425D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39BAC56F-7AB7-BF46-89BD-DE88F503D9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7421323">
            <a:off x="3469703" y="303082"/>
            <a:ext cx="366015" cy="366015"/>
          </a:xfrm>
          <a:prstGeom prst="rect">
            <a:avLst/>
          </a:prstGeom>
        </p:spPr>
      </p:pic>
      <p:pic>
        <p:nvPicPr>
          <p:cNvPr id="13" name="Grafikk 12">
            <a:extLst>
              <a:ext uri="{FF2B5EF4-FFF2-40B4-BE49-F238E27FC236}">
                <a16:creationId xmlns:a16="http://schemas.microsoft.com/office/drawing/2014/main" id="{C69491C1-8844-E943-9739-B429ABED55E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02866" y="5446630"/>
            <a:ext cx="381000" cy="381000"/>
          </a:xfrm>
          <a:prstGeom prst="rect">
            <a:avLst/>
          </a:prstGeom>
        </p:spPr>
      </p:pic>
      <p:pic>
        <p:nvPicPr>
          <p:cNvPr id="22" name="Grafikk 21">
            <a:extLst>
              <a:ext uri="{FF2B5EF4-FFF2-40B4-BE49-F238E27FC236}">
                <a16:creationId xmlns:a16="http://schemas.microsoft.com/office/drawing/2014/main" id="{1F3EB4C2-3405-D548-A868-DEE71733F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286282">
            <a:off x="10880747" y="1392878"/>
            <a:ext cx="366015" cy="366015"/>
          </a:xfrm>
          <a:prstGeom prst="rect">
            <a:avLst/>
          </a:prstGeom>
        </p:spPr>
      </p:pic>
      <p:pic>
        <p:nvPicPr>
          <p:cNvPr id="23" name="Grafikk 22">
            <a:extLst>
              <a:ext uri="{FF2B5EF4-FFF2-40B4-BE49-F238E27FC236}">
                <a16:creationId xmlns:a16="http://schemas.microsoft.com/office/drawing/2014/main" id="{1A712FA8-94A9-B349-B422-6A89C9A82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45899">
            <a:off x="11359031" y="511437"/>
            <a:ext cx="366015" cy="366015"/>
          </a:xfrm>
          <a:prstGeom prst="rect">
            <a:avLst/>
          </a:prstGeom>
        </p:spPr>
      </p:pic>
      <p:pic>
        <p:nvPicPr>
          <p:cNvPr id="24" name="Grafikk 23">
            <a:extLst>
              <a:ext uri="{FF2B5EF4-FFF2-40B4-BE49-F238E27FC236}">
                <a16:creationId xmlns:a16="http://schemas.microsoft.com/office/drawing/2014/main" id="{EAA3BBF5-648F-474F-B753-7BD6F1F05E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66994" y="2953407"/>
            <a:ext cx="381000" cy="381000"/>
          </a:xfrm>
          <a:prstGeom prst="rect">
            <a:avLst/>
          </a:prstGeom>
        </p:spPr>
      </p:pic>
      <p:pic>
        <p:nvPicPr>
          <p:cNvPr id="25" name="Grafikk 24">
            <a:extLst>
              <a:ext uri="{FF2B5EF4-FFF2-40B4-BE49-F238E27FC236}">
                <a16:creationId xmlns:a16="http://schemas.microsoft.com/office/drawing/2014/main" id="{FA9FFAF4-6F65-CE4D-AF9F-CF128D4563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94021" y="4920797"/>
            <a:ext cx="381000" cy="381000"/>
          </a:xfrm>
          <a:prstGeom prst="rect">
            <a:avLst/>
          </a:prstGeom>
        </p:spPr>
      </p:pic>
      <p:pic>
        <p:nvPicPr>
          <p:cNvPr id="27" name="Grafikk 26">
            <a:extLst>
              <a:ext uri="{FF2B5EF4-FFF2-40B4-BE49-F238E27FC236}">
                <a16:creationId xmlns:a16="http://schemas.microsoft.com/office/drawing/2014/main" id="{21B1287E-98CD-B14C-9EDF-2A171C79FD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1379378">
            <a:off x="12008992" y="938618"/>
            <a:ext cx="366015" cy="366015"/>
          </a:xfrm>
          <a:prstGeom prst="rect">
            <a:avLst/>
          </a:prstGeom>
        </p:spPr>
      </p:pic>
      <p:sp>
        <p:nvSpPr>
          <p:cNvPr id="28" name="Plassholder for bunntekst 4">
            <a:extLst>
              <a:ext uri="{FF2B5EF4-FFF2-40B4-BE49-F238E27FC236}">
                <a16:creationId xmlns:a16="http://schemas.microsoft.com/office/drawing/2014/main" id="{50AE2EBD-6779-AE46-AD3F-4390672C7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2F425D"/>
                </a:solidFill>
              </a:defRPr>
            </a:lvl1pPr>
          </a:lstStyle>
          <a:p>
            <a:r>
              <a:rPr lang="nb-NO"/>
              <a:t>KUDAF</a:t>
            </a:r>
          </a:p>
        </p:txBody>
      </p:sp>
      <p:sp>
        <p:nvSpPr>
          <p:cNvPr id="29" name="Plassholder for lysbildenummer 5">
            <a:extLst>
              <a:ext uri="{FF2B5EF4-FFF2-40B4-BE49-F238E27FC236}">
                <a16:creationId xmlns:a16="http://schemas.microsoft.com/office/drawing/2014/main" id="{49B6F5B9-955A-BA46-A4D2-BC9D36DC3C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F425D"/>
                </a:solidFill>
              </a:defRPr>
            </a:lvl1pPr>
          </a:lstStyle>
          <a:p>
            <a:fld id="{68549AB0-D5ED-A840-B00D-59CC129EA27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3794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9B68F71-DE8A-7D42-BBDC-9B0E0C99A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D913D3B-9C1D-CC46-B895-1E2C47E0A5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2D3FF84-CF5F-994D-A5BB-BB479FF5D0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8828CE9-1428-564B-B814-9F9533F7F6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69FF1D16-FBBE-7742-8816-94A26FB536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Plassholder for bunntekst 4">
            <a:extLst>
              <a:ext uri="{FF2B5EF4-FFF2-40B4-BE49-F238E27FC236}">
                <a16:creationId xmlns:a16="http://schemas.microsoft.com/office/drawing/2014/main" id="{37611611-14DB-644F-B64F-36717DB3F4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CAEC52AC-29A6-E042-A6A7-EF563371A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3460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19B7C6-E9D6-4A49-829A-7A2A8BA35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CDE4825D-E477-BD42-8D07-497840A15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nb-NO"/>
              <a:t>KUDAF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488DB039-7353-2E4F-960D-165617BD0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/>
          <a:lstStyle/>
          <a:p>
            <a:fld id="{68549AB0-D5ED-A840-B00D-59CC129EA27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7088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image" Target="../media/image14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image" Target="../media/image13.pn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image" Target="../media/image15.png"/><Relationship Id="rId8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9015F83-8EF1-0147-A137-F21B58BF3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B5175D0-2BA8-F245-99FE-605E11CA7C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04BCE6FD-D4E8-D340-894E-5A93D7C62BB4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86444" y="6279321"/>
            <a:ext cx="438509" cy="424902"/>
          </a:xfrm>
          <a:prstGeom prst="rect">
            <a:avLst/>
          </a:prstGeom>
        </p:spPr>
      </p:pic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D4AE6F26-7E80-4642-AD7F-14672C343F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9106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accent6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nb-NO"/>
              <a:t>KUDAF</a:t>
            </a:r>
          </a:p>
        </p:txBody>
      </p:sp>
      <p:sp>
        <p:nvSpPr>
          <p:cNvPr id="16" name="Plassholder for lysbildenummer 5">
            <a:extLst>
              <a:ext uri="{FF2B5EF4-FFF2-40B4-BE49-F238E27FC236}">
                <a16:creationId xmlns:a16="http://schemas.microsoft.com/office/drawing/2014/main" id="{1AA13527-D240-7049-A63B-54F2E874D1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8160" y="6356350"/>
            <a:ext cx="675640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accent6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68549AB0-D5ED-A840-B00D-59CC129EA27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42796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0" r:id="rId5"/>
    <p:sldLayoutId id="2147483661" r:id="rId6"/>
    <p:sldLayoutId id="214748366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709" r:id="rId13"/>
    <p:sldLayoutId id="2147483710" r:id="rId14"/>
    <p:sldLayoutId id="2147483711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Helvetica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130601"/>
            <a:ext cx="10515600" cy="3798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Lorem ipsum obita veles assit, qui tenimusant et que non nobit, sedis essit aut enimillum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70848" y="6300788"/>
            <a:ext cx="9042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2955C0-41DE-4519-832E-51A05D92624B}" type="datetimeFigureOut">
              <a:rPr lang="nb-NO" smtClean="0"/>
              <a:t>21.01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10050" y="6300788"/>
            <a:ext cx="65341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9300" y="6300788"/>
            <a:ext cx="444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221476-4396-495E-8480-42256029A3FD}" type="slidenum">
              <a:rPr lang="nb-NO" smtClean="0"/>
              <a:t>‹#›</a:t>
            </a:fld>
            <a:endParaRPr lang="nb-NO"/>
          </a:p>
        </p:txBody>
      </p:sp>
      <p:pic>
        <p:nvPicPr>
          <p:cNvPr id="9" name="Logo_Nynorsk" hidden="1">
            <a:extLst>
              <a:ext uri="{FF2B5EF4-FFF2-40B4-BE49-F238E27FC236}">
                <a16:creationId xmlns:a16="http://schemas.microsoft.com/office/drawing/2014/main" id="{62EF5CD4-249F-47B8-A5C6-E57B8F34E9E5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378047" y="6300788"/>
            <a:ext cx="2446757" cy="331200"/>
          </a:xfrm>
          <a:prstGeom prst="rect">
            <a:avLst/>
          </a:prstGeom>
        </p:spPr>
      </p:pic>
      <p:pic>
        <p:nvPicPr>
          <p:cNvPr id="12" name="Logo_Bokmal">
            <a:extLst>
              <a:ext uri="{FF2B5EF4-FFF2-40B4-BE49-F238E27FC236}">
                <a16:creationId xmlns:a16="http://schemas.microsoft.com/office/drawing/2014/main" id="{6603A225-F450-4040-99B0-0A05697C63E9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378047" y="6300788"/>
            <a:ext cx="2436122" cy="331200"/>
          </a:xfrm>
          <a:prstGeom prst="rect">
            <a:avLst/>
          </a:prstGeom>
        </p:spPr>
      </p:pic>
      <p:pic>
        <p:nvPicPr>
          <p:cNvPr id="15" name="Logo_Engelsk" hidden="1">
            <a:extLst>
              <a:ext uri="{FF2B5EF4-FFF2-40B4-BE49-F238E27FC236}">
                <a16:creationId xmlns:a16="http://schemas.microsoft.com/office/drawing/2014/main" id="{059CBF14-B6D9-46F2-A0A2-30AF189F7334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378047" y="6300788"/>
            <a:ext cx="2457851" cy="33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61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</p:sldLayoutIdLst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5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84" indent="-171484" algn="l" defTabSz="914446" rtl="0" eaLnBrk="1" latinLnBrk="0" hangingPunct="1">
        <a:lnSpc>
          <a:spcPct val="125000"/>
        </a:lnSpc>
        <a:spcBef>
          <a:spcPts val="14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0.png"/><Relationship Id="rId4" Type="http://schemas.openxmlformats.org/officeDocument/2006/relationships/image" Target="../media/image99.sv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2.png"/><Relationship Id="rId5" Type="http://schemas.openxmlformats.org/officeDocument/2006/relationships/image" Target="../media/image10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2.png"/><Relationship Id="rId5" Type="http://schemas.openxmlformats.org/officeDocument/2006/relationships/image" Target="../media/image101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13" Type="http://schemas.openxmlformats.org/officeDocument/2006/relationships/image" Target="../media/image11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4.emf"/><Relationship Id="rId12" Type="http://schemas.openxmlformats.org/officeDocument/2006/relationships/image" Target="../media/image1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11.png"/><Relationship Id="rId5" Type="http://schemas.openxmlformats.org/officeDocument/2006/relationships/image" Target="../media/image107.png"/><Relationship Id="rId10" Type="http://schemas.openxmlformats.org/officeDocument/2006/relationships/image" Target="../media/image110.png"/><Relationship Id="rId4" Type="http://schemas.openxmlformats.org/officeDocument/2006/relationships/image" Target="../media/image106.png"/><Relationship Id="rId9" Type="http://schemas.openxmlformats.org/officeDocument/2006/relationships/image" Target="../media/image109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ehelse.no/standardisering/standarder/veileder-for-bruk-av-FAIR-prinsippene-for-helsedatakilder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7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9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20.png"/><Relationship Id="rId4" Type="http://schemas.openxmlformats.org/officeDocument/2006/relationships/image" Target="../media/image119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435B53-BD03-48C9-A427-EE02080EFA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6" imgW="385" imgH="385" progId="TCLayout.ActiveDocument.1">
                  <p:embed/>
                </p:oleObj>
              </mc:Choice>
              <mc:Fallback>
                <p:oleObj name="think-cell Slide" r:id="rId6" imgW="385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435B53-BD03-48C9-A427-EE02080EFA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9F6B5C-A8A0-448A-ABEA-70C2F91635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400" b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C8A331D-91CE-4C5E-AE53-01C12CB5F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14249"/>
            <a:ext cx="9144000" cy="2387600"/>
          </a:xfrm>
        </p:spPr>
        <p:txBody>
          <a:bodyPr>
            <a:normAutofit fontScale="90000"/>
          </a:bodyPr>
          <a:lstStyle/>
          <a:p>
            <a:br>
              <a:rPr lang="nb-NO" sz="4400"/>
            </a:br>
            <a:br>
              <a:rPr lang="nb-NO" sz="4400"/>
            </a:br>
            <a:br>
              <a:rPr lang="nb-NO" sz="4400"/>
            </a:br>
            <a:br>
              <a:rPr lang="nb-NO" sz="4400"/>
            </a:br>
            <a:r>
              <a:rPr lang="nb-NO" sz="4400"/>
              <a:t>Kunnskapssektorens datafellesskap</a:t>
            </a:r>
            <a:br>
              <a:rPr lang="nb-NO" sz="4400"/>
            </a:br>
            <a:br>
              <a:rPr lang="nb-NO" sz="1300"/>
            </a:br>
            <a:r>
              <a:rPr lang="nb-NO" sz="4400"/>
              <a:t>KUDAF</a:t>
            </a:r>
            <a:br>
              <a:rPr lang="nb-NO" sz="4400"/>
            </a:br>
            <a:br>
              <a:rPr lang="nb-NO" sz="4400"/>
            </a:br>
            <a:r>
              <a:rPr lang="nb-NO" sz="2700"/>
              <a:t>Per Hovde og Heidi Bergh-Hoff, HK-dir</a:t>
            </a:r>
            <a:endParaRPr lang="nb-NO" sz="4400">
              <a:cs typeface="Calibri"/>
            </a:endParaRPr>
          </a:p>
        </p:txBody>
      </p:sp>
      <p:sp>
        <p:nvSpPr>
          <p:cNvPr id="6" name="Undertittel 5">
            <a:extLst>
              <a:ext uri="{FF2B5EF4-FFF2-40B4-BE49-F238E27FC236}">
                <a16:creationId xmlns:a16="http://schemas.microsoft.com/office/drawing/2014/main" id="{3DB7085E-57A7-44C2-A738-AA84AF131D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163671"/>
            <a:ext cx="9144000" cy="514830"/>
          </a:xfrm>
        </p:spPr>
        <p:txBody>
          <a:bodyPr/>
          <a:lstStyle/>
          <a:p>
            <a:br>
              <a:rPr lang="nb-NO" sz="500"/>
            </a:br>
            <a:r>
              <a:rPr lang="nb-NO" sz="1800"/>
              <a:t>Forum for informasjonsforvaltning onsdag 19. januar 2022</a:t>
            </a:r>
            <a:endParaRPr lang="nb-NO"/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289F7C07-763F-4056-BE1F-77E418CDE7FE}"/>
              </a:ext>
            </a:extLst>
          </p:cNvPr>
          <p:cNvSpPr txBox="1">
            <a:spLocks/>
          </p:cNvSpPr>
          <p:nvPr/>
        </p:nvSpPr>
        <p:spPr>
          <a:xfrm>
            <a:off x="249108" y="3177949"/>
            <a:ext cx="11761031" cy="78219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415364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nb-NO" sz="2400" b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953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EB457ED4-23D5-43F4-953E-E86BB55FC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0287" y="1195257"/>
            <a:ext cx="11677650" cy="5524500"/>
          </a:xfrm>
          <a:prstGeom prst="rect">
            <a:avLst/>
          </a:prstGeom>
        </p:spPr>
      </p:pic>
      <p:sp>
        <p:nvSpPr>
          <p:cNvPr id="33" name="Ellipse 32">
            <a:extLst>
              <a:ext uri="{FF2B5EF4-FFF2-40B4-BE49-F238E27FC236}">
                <a16:creationId xmlns:a16="http://schemas.microsoft.com/office/drawing/2014/main" id="{38EAC308-8519-4190-B9CF-B5E3506323CE}"/>
              </a:ext>
            </a:extLst>
          </p:cNvPr>
          <p:cNvSpPr/>
          <p:nvPr/>
        </p:nvSpPr>
        <p:spPr>
          <a:xfrm>
            <a:off x="3579802" y="5613887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6D4AD0BC-BA6C-4CBD-A70A-9AE969FBDA9F}"/>
              </a:ext>
            </a:extLst>
          </p:cNvPr>
          <p:cNvSpPr/>
          <p:nvPr/>
        </p:nvSpPr>
        <p:spPr>
          <a:xfrm>
            <a:off x="4804747" y="5613887"/>
            <a:ext cx="252000" cy="252000"/>
          </a:xfrm>
          <a:prstGeom prst="ellipse">
            <a:avLst/>
          </a:prstGeom>
          <a:solidFill>
            <a:srgbClr val="F6BAB4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81B0B56-BA4C-4D0D-A65E-F33A667C7C05}"/>
              </a:ext>
            </a:extLst>
          </p:cNvPr>
          <p:cNvSpPr/>
          <p:nvPr/>
        </p:nvSpPr>
        <p:spPr>
          <a:xfrm>
            <a:off x="2837280" y="5718836"/>
            <a:ext cx="252000" cy="252000"/>
          </a:xfrm>
          <a:prstGeom prst="ellipse">
            <a:avLst/>
          </a:prstGeom>
          <a:solidFill>
            <a:srgbClr val="F6BAB4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79099A6-41E2-43F5-81F4-E52BE5A9E871}"/>
              </a:ext>
            </a:extLst>
          </p:cNvPr>
          <p:cNvSpPr/>
          <p:nvPr/>
        </p:nvSpPr>
        <p:spPr>
          <a:xfrm>
            <a:off x="2341106" y="6372317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1C32A12B-AD7F-4976-ABE3-B9418D976ABF}"/>
              </a:ext>
            </a:extLst>
          </p:cNvPr>
          <p:cNvSpPr/>
          <p:nvPr/>
        </p:nvSpPr>
        <p:spPr>
          <a:xfrm>
            <a:off x="3813560" y="6372317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E7A95279-8256-4508-B9D7-325C55451E99}"/>
              </a:ext>
            </a:extLst>
          </p:cNvPr>
          <p:cNvSpPr/>
          <p:nvPr/>
        </p:nvSpPr>
        <p:spPr>
          <a:xfrm>
            <a:off x="4549204" y="4758611"/>
            <a:ext cx="252000" cy="252000"/>
          </a:xfrm>
          <a:prstGeom prst="ellipse">
            <a:avLst/>
          </a:prstGeom>
          <a:solidFill>
            <a:srgbClr val="FDE4BF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F46792BE-724B-422D-9961-4A1155ACD5A4}"/>
              </a:ext>
            </a:extLst>
          </p:cNvPr>
          <p:cNvSpPr/>
          <p:nvPr/>
        </p:nvSpPr>
        <p:spPr>
          <a:xfrm>
            <a:off x="5499141" y="4758611"/>
            <a:ext cx="252000" cy="252000"/>
          </a:xfrm>
          <a:prstGeom prst="ellipse">
            <a:avLst/>
          </a:prstGeom>
          <a:solidFill>
            <a:srgbClr val="FDE4BF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58F1063E-ADD8-4986-A3BB-2C636D6B10D6}"/>
              </a:ext>
            </a:extLst>
          </p:cNvPr>
          <p:cNvSpPr/>
          <p:nvPr/>
        </p:nvSpPr>
        <p:spPr>
          <a:xfrm>
            <a:off x="5946030" y="4894114"/>
            <a:ext cx="252000" cy="252000"/>
          </a:xfrm>
          <a:prstGeom prst="ellipse">
            <a:avLst/>
          </a:prstGeom>
          <a:solidFill>
            <a:srgbClr val="FDE4BF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56CF8501-863A-4B9E-92E7-99D51655591A}"/>
              </a:ext>
            </a:extLst>
          </p:cNvPr>
          <p:cNvSpPr/>
          <p:nvPr/>
        </p:nvSpPr>
        <p:spPr>
          <a:xfrm>
            <a:off x="3525960" y="4967394"/>
            <a:ext cx="252000" cy="252000"/>
          </a:xfrm>
          <a:prstGeom prst="ellipse">
            <a:avLst/>
          </a:prstGeom>
          <a:solidFill>
            <a:srgbClr val="FDE4BF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DCC642E0-5060-4C95-B768-846AE6943AF3}"/>
              </a:ext>
            </a:extLst>
          </p:cNvPr>
          <p:cNvSpPr/>
          <p:nvPr/>
        </p:nvSpPr>
        <p:spPr>
          <a:xfrm>
            <a:off x="5086630" y="5040312"/>
            <a:ext cx="252000" cy="252000"/>
          </a:xfrm>
          <a:prstGeom prst="ellipse">
            <a:avLst/>
          </a:prstGeom>
          <a:solidFill>
            <a:srgbClr val="FDE4BF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4E7E92D2-CA13-40AE-947B-8C7F641DED75}"/>
              </a:ext>
            </a:extLst>
          </p:cNvPr>
          <p:cNvSpPr/>
          <p:nvPr/>
        </p:nvSpPr>
        <p:spPr>
          <a:xfrm>
            <a:off x="4165355" y="5228024"/>
            <a:ext cx="252000" cy="252000"/>
          </a:xfrm>
          <a:prstGeom prst="ellipse">
            <a:avLst/>
          </a:prstGeom>
          <a:solidFill>
            <a:srgbClr val="FDE4BF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AC63BCE9-C048-4D11-A17E-F7AF040B46A2}"/>
              </a:ext>
            </a:extLst>
          </p:cNvPr>
          <p:cNvSpPr/>
          <p:nvPr/>
        </p:nvSpPr>
        <p:spPr>
          <a:xfrm>
            <a:off x="5347886" y="5718836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D753E9F-FC90-4DE1-B842-C1A6D929F3A9}"/>
              </a:ext>
            </a:extLst>
          </p:cNvPr>
          <p:cNvSpPr/>
          <p:nvPr/>
        </p:nvSpPr>
        <p:spPr>
          <a:xfrm>
            <a:off x="6420419" y="5832709"/>
            <a:ext cx="252000" cy="252000"/>
          </a:xfrm>
          <a:prstGeom prst="ellipse">
            <a:avLst/>
          </a:prstGeom>
          <a:solidFill>
            <a:srgbClr val="F6BAB4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85AF7F60-5FF2-4712-937D-3EE6481BAD43}"/>
              </a:ext>
            </a:extLst>
          </p:cNvPr>
          <p:cNvSpPr/>
          <p:nvPr/>
        </p:nvSpPr>
        <p:spPr>
          <a:xfrm>
            <a:off x="4110353" y="5946974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666EF6FC-917D-4BDC-A5A6-91D58AB6C340}"/>
              </a:ext>
            </a:extLst>
          </p:cNvPr>
          <p:cNvSpPr/>
          <p:nvPr/>
        </p:nvSpPr>
        <p:spPr>
          <a:xfrm>
            <a:off x="3469008" y="6030690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4E74322-A00E-4B18-A978-627D493BB661}"/>
              </a:ext>
            </a:extLst>
          </p:cNvPr>
          <p:cNvSpPr/>
          <p:nvPr/>
        </p:nvSpPr>
        <p:spPr>
          <a:xfrm>
            <a:off x="5162257" y="6046666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6332008-0F15-407D-81D6-84B680C5D5BA}"/>
              </a:ext>
            </a:extLst>
          </p:cNvPr>
          <p:cNvSpPr/>
          <p:nvPr/>
        </p:nvSpPr>
        <p:spPr>
          <a:xfrm>
            <a:off x="5770033" y="6069681"/>
            <a:ext cx="252000" cy="252000"/>
          </a:xfrm>
          <a:prstGeom prst="ellipse">
            <a:avLst/>
          </a:prstGeom>
          <a:solidFill>
            <a:srgbClr val="F6BAB4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B8EFB705-8A21-428D-AFDC-22E00B66FC80}"/>
              </a:ext>
            </a:extLst>
          </p:cNvPr>
          <p:cNvSpPr/>
          <p:nvPr/>
        </p:nvSpPr>
        <p:spPr>
          <a:xfrm>
            <a:off x="4444078" y="6150877"/>
            <a:ext cx="252000" cy="252000"/>
          </a:xfrm>
          <a:prstGeom prst="ellipse">
            <a:avLst/>
          </a:prstGeom>
          <a:solidFill>
            <a:srgbClr val="F6BAB4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6C41009E-1421-47D8-8ACC-6079D9E6C292}"/>
              </a:ext>
            </a:extLst>
          </p:cNvPr>
          <p:cNvSpPr/>
          <p:nvPr/>
        </p:nvSpPr>
        <p:spPr>
          <a:xfrm>
            <a:off x="5409364" y="6282690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C3ECCA8-43FC-4879-AC28-95AD39251000}"/>
              </a:ext>
            </a:extLst>
          </p:cNvPr>
          <p:cNvSpPr txBox="1"/>
          <p:nvPr/>
        </p:nvSpPr>
        <p:spPr>
          <a:xfrm>
            <a:off x="537029" y="1752788"/>
            <a:ext cx="86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a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230EF563-70D7-47D0-831C-F6ED165024BA}"/>
              </a:ext>
            </a:extLst>
          </p:cNvPr>
          <p:cNvSpPr/>
          <p:nvPr/>
        </p:nvSpPr>
        <p:spPr>
          <a:xfrm>
            <a:off x="290287" y="1195257"/>
            <a:ext cx="3839028" cy="11039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drevet virksomhet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2AB27B4-C8CB-48A8-9CE4-E728A3803FFF}"/>
              </a:ext>
            </a:extLst>
          </p:cNvPr>
          <p:cNvSpPr/>
          <p:nvPr/>
        </p:nvSpPr>
        <p:spPr>
          <a:xfrm>
            <a:off x="282010" y="2299250"/>
            <a:ext cx="3283311" cy="1103993"/>
          </a:xfrm>
          <a:prstGeom prst="rect">
            <a:avLst/>
          </a:prstGeom>
          <a:solidFill>
            <a:srgbClr val="F4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ere i organisasjon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5F15F2C-2020-44E6-B928-10AB38530BAA}"/>
              </a:ext>
            </a:extLst>
          </p:cNvPr>
          <p:cNvSpPr/>
          <p:nvPr/>
        </p:nvSpPr>
        <p:spPr>
          <a:xfrm>
            <a:off x="290288" y="5610229"/>
            <a:ext cx="1295232" cy="1103993"/>
          </a:xfrm>
          <a:prstGeom prst="rect">
            <a:avLst/>
          </a:prstGeom>
          <a:solidFill>
            <a:srgbClr val="FFE1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ablere forståelse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8E074849-9959-4A19-B64F-91C19CDD98D5}"/>
              </a:ext>
            </a:extLst>
          </p:cNvPr>
          <p:cNvSpPr/>
          <p:nvPr/>
        </p:nvSpPr>
        <p:spPr>
          <a:xfrm>
            <a:off x="321212" y="4500701"/>
            <a:ext cx="1910259" cy="1103993"/>
          </a:xfrm>
          <a:prstGeom prst="rect">
            <a:avLst/>
          </a:prstGeom>
          <a:solidFill>
            <a:srgbClr val="FFE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ankring og aksept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BE22CEAE-EC1E-43FA-8501-BBF554D67E10}"/>
              </a:ext>
            </a:extLst>
          </p:cNvPr>
          <p:cNvSpPr/>
          <p:nvPr/>
        </p:nvSpPr>
        <p:spPr>
          <a:xfrm>
            <a:off x="8338657" y="5604694"/>
            <a:ext cx="3629280" cy="1103993"/>
          </a:xfrm>
          <a:prstGeom prst="rect">
            <a:avLst/>
          </a:prstGeom>
          <a:solidFill>
            <a:srgbClr val="FFE1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v forståelse for innhold og omfang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beid iverksatt for å etablere forståel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0D97097-3C70-49F4-8E74-5B365D737B86}"/>
              </a:ext>
            </a:extLst>
          </p:cNvPr>
          <p:cNvSpPr/>
          <p:nvPr/>
        </p:nvSpPr>
        <p:spPr>
          <a:xfrm>
            <a:off x="305832" y="3403140"/>
            <a:ext cx="2252717" cy="1103993"/>
          </a:xfrm>
          <a:prstGeom prst="rect">
            <a:avLst/>
          </a:prstGeom>
          <a:solidFill>
            <a:srgbClr val="FCF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e kompetanse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699B20AE-CC07-432A-AD63-48BBEF4AE83B}"/>
              </a:ext>
            </a:extLst>
          </p:cNvPr>
          <p:cNvSpPr/>
          <p:nvPr/>
        </p:nvSpPr>
        <p:spPr>
          <a:xfrm>
            <a:off x="7843706" y="4506409"/>
            <a:ext cx="4132509" cy="1103993"/>
          </a:xfrm>
          <a:prstGeom prst="rect">
            <a:avLst/>
          </a:prstGeom>
          <a:solidFill>
            <a:srgbClr val="FFE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en i eget hus er forankret i virksomhetsledelsen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surser er allokert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anseaktiviteter planlagt 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E8AF605-4789-4D74-AA89-338F8533DF5A}"/>
              </a:ext>
            </a:extLst>
          </p:cNvPr>
          <p:cNvSpPr/>
          <p:nvPr/>
        </p:nvSpPr>
        <p:spPr>
          <a:xfrm>
            <a:off x="7365534" y="3412927"/>
            <a:ext cx="4602403" cy="1103993"/>
          </a:xfrm>
          <a:prstGeom prst="rect">
            <a:avLst/>
          </a:prstGeom>
          <a:solidFill>
            <a:srgbClr val="FCF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anse for arbeidet med orden i eget hus er etablert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verrfaglig team for innføring i organisasjonen er etablert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ller i informasjonsforvaltning definert og forståt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CCEC8556-BE70-4B3D-BCF5-779644CD225A}"/>
              </a:ext>
            </a:extLst>
          </p:cNvPr>
          <p:cNvSpPr/>
          <p:nvPr/>
        </p:nvSpPr>
        <p:spPr>
          <a:xfrm>
            <a:off x="6501468" y="2303188"/>
            <a:ext cx="5466469" cy="1093866"/>
          </a:xfrm>
          <a:prstGeom prst="rect">
            <a:avLst/>
          </a:prstGeom>
          <a:solidFill>
            <a:srgbClr val="F4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ering av orden i eget hus i organisasjonen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en i eget hus blir den nye normalen for informasjons-forvaltning i alle fagavdelinger</a:t>
            </a:r>
          </a:p>
          <a:p>
            <a:pPr marL="180000" marR="0" lvl="0" indent="-18000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42BC6015-9526-46CF-9F30-E92947E0AB98}"/>
              </a:ext>
            </a:extLst>
          </p:cNvPr>
          <p:cNvSpPr/>
          <p:nvPr/>
        </p:nvSpPr>
        <p:spPr>
          <a:xfrm>
            <a:off x="5937475" y="1205286"/>
            <a:ext cx="6030462" cy="11039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ksomheten har kontroll på sine informasjonsverdier (</a:t>
            </a:r>
            <a:r>
              <a:rPr kumimoji="0" lang="nb-NO" sz="16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ts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k at data (interne og eksterne) til analyseformål gir utvidet innsikt</a:t>
            </a:r>
          </a:p>
          <a:p>
            <a:pPr marL="180000" marR="0" lvl="0" indent="-18000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k av data (interne og eksterne) til tjenesteproduksjon gir effektivisering og bedre brukeropplevelse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53E31758-D9EE-433E-B94C-4E89953E2C21}"/>
              </a:ext>
            </a:extLst>
          </p:cNvPr>
          <p:cNvSpPr txBox="1"/>
          <p:nvPr/>
        </p:nvSpPr>
        <p:spPr>
          <a:xfrm>
            <a:off x="1284129" y="166616"/>
            <a:ext cx="104523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en i eget hus - modenhetsvurdering av virksomhetene (juni 2021)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6F77446-2136-4F96-9D14-0727EFD90919}"/>
              </a:ext>
            </a:extLst>
          </p:cNvPr>
          <p:cNvSpPr/>
          <p:nvPr/>
        </p:nvSpPr>
        <p:spPr>
          <a:xfrm>
            <a:off x="6356561" y="6392942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28CE5CF0-212A-4E6D-9E0F-5DB87AFE1461}"/>
              </a:ext>
            </a:extLst>
          </p:cNvPr>
          <p:cNvSpPr/>
          <p:nvPr/>
        </p:nvSpPr>
        <p:spPr>
          <a:xfrm>
            <a:off x="5389137" y="5332709"/>
            <a:ext cx="252000" cy="252000"/>
          </a:xfrm>
          <a:prstGeom prst="ellipse">
            <a:avLst/>
          </a:prstGeom>
          <a:solidFill>
            <a:srgbClr val="FDE4BF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1E1F8B8A-4DB8-4ECB-92A3-2AF952D96117}"/>
              </a:ext>
            </a:extLst>
          </p:cNvPr>
          <p:cNvSpPr/>
          <p:nvPr/>
        </p:nvSpPr>
        <p:spPr>
          <a:xfrm>
            <a:off x="5114131" y="3964923"/>
            <a:ext cx="252000" cy="252000"/>
          </a:xfrm>
          <a:prstGeom prst="ellipse">
            <a:avLst/>
          </a:prstGeom>
          <a:solidFill>
            <a:srgbClr val="FDFACF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6ACC11D0-7869-4A0D-A613-6DF662C75867}"/>
              </a:ext>
            </a:extLst>
          </p:cNvPr>
          <p:cNvSpPr/>
          <p:nvPr/>
        </p:nvSpPr>
        <p:spPr>
          <a:xfrm>
            <a:off x="4701621" y="3532061"/>
            <a:ext cx="252000" cy="252000"/>
          </a:xfrm>
          <a:prstGeom prst="ellipse">
            <a:avLst/>
          </a:prstGeom>
          <a:solidFill>
            <a:srgbClr val="FDFACF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88E5991A-06E5-4374-B2F5-5E0040C5CACD}"/>
              </a:ext>
            </a:extLst>
          </p:cNvPr>
          <p:cNvSpPr/>
          <p:nvPr/>
        </p:nvSpPr>
        <p:spPr>
          <a:xfrm>
            <a:off x="4804747" y="6372317"/>
            <a:ext cx="252000" cy="252000"/>
          </a:xfrm>
          <a:prstGeom prst="ellipse">
            <a:avLst/>
          </a:prstGeom>
          <a:solidFill>
            <a:srgbClr val="F6BAB4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57929C2E-A340-4699-8326-C14270080FEC}"/>
              </a:ext>
            </a:extLst>
          </p:cNvPr>
          <p:cNvSpPr/>
          <p:nvPr/>
        </p:nvSpPr>
        <p:spPr>
          <a:xfrm>
            <a:off x="321212" y="701619"/>
            <a:ext cx="180000" cy="180000"/>
          </a:xfrm>
          <a:prstGeom prst="ellipse">
            <a:avLst/>
          </a:prstGeom>
          <a:solidFill>
            <a:srgbClr val="FDE4BF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520B0D22-B4C4-41E9-AC5E-93579BADA6D4}"/>
              </a:ext>
            </a:extLst>
          </p:cNvPr>
          <p:cNvSpPr/>
          <p:nvPr/>
        </p:nvSpPr>
        <p:spPr>
          <a:xfrm>
            <a:off x="321212" y="954499"/>
            <a:ext cx="180000" cy="180000"/>
          </a:xfrm>
          <a:prstGeom prst="ellipse">
            <a:avLst/>
          </a:prstGeom>
          <a:solidFill>
            <a:srgbClr val="FDE4BF"/>
          </a:solidFill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kstSylinder 45">
            <a:extLst>
              <a:ext uri="{FF2B5EF4-FFF2-40B4-BE49-F238E27FC236}">
                <a16:creationId xmlns:a16="http://schemas.microsoft.com/office/drawing/2014/main" id="{23725D44-E24B-4F6B-9C69-D541EF733C69}"/>
              </a:ext>
            </a:extLst>
          </p:cNvPr>
          <p:cNvSpPr txBox="1"/>
          <p:nvPr/>
        </p:nvSpPr>
        <p:spPr>
          <a:xfrm>
            <a:off x="501212" y="619814"/>
            <a:ext cx="14016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at</a:t>
            </a:r>
          </a:p>
        </p:txBody>
      </p: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FFA656E7-713B-4F96-8D2B-EF0295BC87F5}"/>
              </a:ext>
            </a:extLst>
          </p:cNvPr>
          <p:cNvSpPr txBox="1"/>
          <p:nvPr/>
        </p:nvSpPr>
        <p:spPr>
          <a:xfrm>
            <a:off x="501212" y="892984"/>
            <a:ext cx="14016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e</a:t>
            </a:r>
          </a:p>
        </p:txBody>
      </p:sp>
    </p:spTree>
    <p:extLst>
      <p:ext uri="{BB962C8B-B14F-4D97-AF65-F5344CB8AC3E}">
        <p14:creationId xmlns:p14="http://schemas.microsoft.com/office/powerpoint/2010/main" val="38497771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tel 1">
            <a:extLst>
              <a:ext uri="{FF2B5EF4-FFF2-40B4-BE49-F238E27FC236}">
                <a16:creationId xmlns:a16="http://schemas.microsoft.com/office/drawing/2014/main" id="{95AB33C9-BC67-44F0-8A6C-B5D571D01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4" y="1318339"/>
            <a:ext cx="3364265" cy="4330947"/>
          </a:xfrm>
        </p:spPr>
        <p:txBody>
          <a:bodyPr/>
          <a:lstStyle/>
          <a:p>
            <a:r>
              <a:rPr lang="nb-NO"/>
              <a:t>KUDAF – hva og hvordan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270ABFC-DE3E-4327-9BAD-4687E1B915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75367" y="1318340"/>
            <a:ext cx="6682609" cy="5066557"/>
          </a:xfrm>
        </p:spPr>
        <p:txBody>
          <a:bodyPr>
            <a:normAutofit fontScale="92500" lnSpcReduction="20000"/>
          </a:bodyPr>
          <a:lstStyle/>
          <a:p>
            <a:r>
              <a:rPr lang="nb-NO"/>
              <a:t>KUDAF er et program som skal realisere en datadelingsplattform og danne grunnlag for en sterkere kultur for samhandling om data i et digitalt økosystem (Kunnskapssektorens datafellesskap – en «markedsplass» for data)</a:t>
            </a:r>
          </a:p>
          <a:p>
            <a:r>
              <a:rPr lang="nb-NO"/>
              <a:t>Spilleregler for økosystemet og kapabiliteter aktørene må etablere er beskrevet i referansearkitekturen for KUDAF</a:t>
            </a:r>
          </a:p>
          <a:p>
            <a:r>
              <a:rPr lang="nb-NO"/>
              <a:t>KUDAF vil stimulere, og være en pådriver for arbeidet med Orden i eget hus</a:t>
            </a:r>
          </a:p>
          <a:p>
            <a:r>
              <a:rPr lang="nb-NO"/>
              <a:t>KUDAF bygges over samme lest som kjente, veletablerte plattformer som </a:t>
            </a:r>
            <a:r>
              <a:rPr lang="nb-NO" err="1"/>
              <a:t>Airbnb</a:t>
            </a:r>
            <a:r>
              <a:rPr lang="nb-NO"/>
              <a:t> og finn.no og eier ingen egne data, men kobler konsumenter og produsenter av data gjennom en «markedsplass» for dataprodukter og sikrer at data deles på en måte som ivaretar informasjonssikkerhet og personvern</a:t>
            </a:r>
          </a:p>
          <a:p>
            <a:r>
              <a:rPr lang="nb-NO"/>
              <a:t>Behov for data for økt innsikt håndteres gjennom verdikjedeanalyser hvor konsument(er) og datatilbyder(e) samarbeider om å analysere behovene for data. Programmet </a:t>
            </a:r>
            <a:r>
              <a:rPr lang="nb-NO" err="1"/>
              <a:t>fasiliterer</a:t>
            </a:r>
            <a:r>
              <a:rPr lang="nb-NO"/>
              <a:t> verdikjedeanalysene</a:t>
            </a:r>
          </a:p>
        </p:txBody>
      </p:sp>
    </p:spTree>
    <p:extLst>
      <p:ext uri="{BB962C8B-B14F-4D97-AF65-F5344CB8AC3E}">
        <p14:creationId xmlns:p14="http://schemas.microsoft.com/office/powerpoint/2010/main" val="22604085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9" name="Rett pilkobling 58">
            <a:extLst>
              <a:ext uri="{FF2B5EF4-FFF2-40B4-BE49-F238E27FC236}">
                <a16:creationId xmlns:a16="http://schemas.microsoft.com/office/drawing/2014/main" id="{F9099A4B-4475-4B68-A065-199A6F67AAEC}"/>
              </a:ext>
            </a:extLst>
          </p:cNvPr>
          <p:cNvCxnSpPr>
            <a:cxnSpLocks/>
          </p:cNvCxnSpPr>
          <p:nvPr/>
        </p:nvCxnSpPr>
        <p:spPr>
          <a:xfrm flipH="1">
            <a:off x="3069200" y="2544417"/>
            <a:ext cx="5458809" cy="5065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kobling 28">
            <a:extLst>
              <a:ext uri="{FF2B5EF4-FFF2-40B4-BE49-F238E27FC236}">
                <a16:creationId xmlns:a16="http://schemas.microsoft.com/office/drawing/2014/main" id="{2A6E4EF6-AC81-4CD6-AE52-F2B263F85A93}"/>
              </a:ext>
            </a:extLst>
          </p:cNvPr>
          <p:cNvCxnSpPr>
            <a:cxnSpLocks/>
          </p:cNvCxnSpPr>
          <p:nvPr/>
        </p:nvCxnSpPr>
        <p:spPr>
          <a:xfrm>
            <a:off x="2719341" y="3462541"/>
            <a:ext cx="2355087" cy="188471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ittel 72">
            <a:extLst>
              <a:ext uri="{FF2B5EF4-FFF2-40B4-BE49-F238E27FC236}">
                <a16:creationId xmlns:a16="http://schemas.microsoft.com/office/drawing/2014/main" id="{9F36EB1D-7202-44B0-BB75-850675FED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/>
              <a:t>«Markedsplass» for data basert på </a:t>
            </a:r>
            <a:r>
              <a:rPr lang="nb-NO" sz="2800" err="1"/>
              <a:t>Airbnb</a:t>
            </a:r>
            <a:r>
              <a:rPr lang="nb-NO" sz="2800"/>
              <a:t>-modellen</a:t>
            </a:r>
            <a:endParaRPr lang="nb-NO" sz="360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E45E90B-0738-4221-9053-E16734E76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KUDAF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295CAE2-20D6-4FF9-A75C-8FC4118D6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49AB0-D5ED-A840-B00D-59CC129EA27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cxnSp>
        <p:nvCxnSpPr>
          <p:cNvPr id="13" name="Rett pilkobling 12">
            <a:extLst>
              <a:ext uri="{FF2B5EF4-FFF2-40B4-BE49-F238E27FC236}">
                <a16:creationId xmlns:a16="http://schemas.microsoft.com/office/drawing/2014/main" id="{E138C9D6-8AD4-4F8A-8E59-105AF0457FB9}"/>
              </a:ext>
            </a:extLst>
          </p:cNvPr>
          <p:cNvCxnSpPr/>
          <p:nvPr/>
        </p:nvCxnSpPr>
        <p:spPr>
          <a:xfrm>
            <a:off x="2949929" y="1979879"/>
            <a:ext cx="5716988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e 13">
            <a:extLst>
              <a:ext uri="{FF2B5EF4-FFF2-40B4-BE49-F238E27FC236}">
                <a16:creationId xmlns:a16="http://schemas.microsoft.com/office/drawing/2014/main" id="{EBE48BF8-C123-42F4-81EA-0EC14738CF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1451" y="1694011"/>
            <a:ext cx="587583" cy="587583"/>
          </a:xfrm>
          <a:prstGeom prst="rect">
            <a:avLst/>
          </a:prstGeom>
        </p:spPr>
      </p:pic>
      <p:cxnSp>
        <p:nvCxnSpPr>
          <p:cNvPr id="15" name="Rett pilkobling 14">
            <a:extLst>
              <a:ext uri="{FF2B5EF4-FFF2-40B4-BE49-F238E27FC236}">
                <a16:creationId xmlns:a16="http://schemas.microsoft.com/office/drawing/2014/main" id="{20A285FB-E3D9-472D-90A5-3638C02A958C}"/>
              </a:ext>
            </a:extLst>
          </p:cNvPr>
          <p:cNvCxnSpPr>
            <a:cxnSpLocks/>
          </p:cNvCxnSpPr>
          <p:nvPr/>
        </p:nvCxnSpPr>
        <p:spPr>
          <a:xfrm flipH="1">
            <a:off x="6141334" y="2820507"/>
            <a:ext cx="2386674" cy="1950275"/>
          </a:xfrm>
          <a:prstGeom prst="straightConnector1">
            <a:avLst/>
          </a:prstGeom>
          <a:ln w="3810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Bilde 1">
            <a:extLst>
              <a:ext uri="{FF2B5EF4-FFF2-40B4-BE49-F238E27FC236}">
                <a16:creationId xmlns:a16="http://schemas.microsoft.com/office/drawing/2014/main" id="{BAFBE9DC-3A7B-432A-8047-19EDC65F00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0824" y="3428283"/>
            <a:ext cx="589657" cy="589657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EEDF3C8-F7CE-43F1-B3D1-8FC85AA2B504}"/>
              </a:ext>
            </a:extLst>
          </p:cNvPr>
          <p:cNvSpPr txBox="1"/>
          <p:nvPr/>
        </p:nvSpPr>
        <p:spPr>
          <a:xfrm rot="19244655">
            <a:off x="5757819" y="3540272"/>
            <a:ext cx="1716758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ilgang til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«markedsplass» for data</a:t>
            </a:r>
          </a:p>
        </p:txBody>
      </p:sp>
      <p:cxnSp>
        <p:nvCxnSpPr>
          <p:cNvPr id="25" name="Rett pilkobling 24">
            <a:extLst>
              <a:ext uri="{FF2B5EF4-FFF2-40B4-BE49-F238E27FC236}">
                <a16:creationId xmlns:a16="http://schemas.microsoft.com/office/drawing/2014/main" id="{9E07D932-4ABC-48D1-9EF9-F1FE4978DBB0}"/>
              </a:ext>
            </a:extLst>
          </p:cNvPr>
          <p:cNvCxnSpPr>
            <a:cxnSpLocks/>
          </p:cNvCxnSpPr>
          <p:nvPr/>
        </p:nvCxnSpPr>
        <p:spPr>
          <a:xfrm flipH="1" flipV="1">
            <a:off x="3069200" y="2820507"/>
            <a:ext cx="2396393" cy="195027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Bilde 25">
            <a:extLst>
              <a:ext uri="{FF2B5EF4-FFF2-40B4-BE49-F238E27FC236}">
                <a16:creationId xmlns:a16="http://schemas.microsoft.com/office/drawing/2014/main" id="{A780F8DB-9C50-43CD-98A8-4BD53BEFF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280" y="3431303"/>
            <a:ext cx="587333" cy="587333"/>
          </a:xfrm>
          <a:prstGeom prst="rect">
            <a:avLst/>
          </a:prstGeom>
        </p:spPr>
      </p:pic>
      <p:sp>
        <p:nvSpPr>
          <p:cNvPr id="27" name="TekstSylinder 26">
            <a:extLst>
              <a:ext uri="{FF2B5EF4-FFF2-40B4-BE49-F238E27FC236}">
                <a16:creationId xmlns:a16="http://schemas.microsoft.com/office/drawing/2014/main" id="{C7C307F0-CE26-4CAA-9124-6F42ABAB0E6C}"/>
              </a:ext>
            </a:extLst>
          </p:cNvPr>
          <p:cNvSpPr txBox="1"/>
          <p:nvPr/>
        </p:nvSpPr>
        <p:spPr>
          <a:xfrm rot="2353968">
            <a:off x="4072881" y="3503545"/>
            <a:ext cx="1721270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ilgang til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«markedsplass» for data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1649B577-9ED5-477B-80EA-82AB283B19DF}"/>
              </a:ext>
            </a:extLst>
          </p:cNvPr>
          <p:cNvSpPr txBox="1"/>
          <p:nvPr/>
        </p:nvSpPr>
        <p:spPr>
          <a:xfrm rot="2328603">
            <a:off x="3981614" y="4286884"/>
            <a:ext cx="1364989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ata-beskrivelser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(metadata)</a:t>
            </a:r>
          </a:p>
        </p:txBody>
      </p:sp>
      <p:cxnSp>
        <p:nvCxnSpPr>
          <p:cNvPr id="36" name="Rett pilkobling 35">
            <a:extLst>
              <a:ext uri="{FF2B5EF4-FFF2-40B4-BE49-F238E27FC236}">
                <a16:creationId xmlns:a16="http://schemas.microsoft.com/office/drawing/2014/main" id="{C07EE124-AA68-49FC-868D-DBB299BB38E3}"/>
              </a:ext>
            </a:extLst>
          </p:cNvPr>
          <p:cNvCxnSpPr>
            <a:cxnSpLocks/>
          </p:cNvCxnSpPr>
          <p:nvPr/>
        </p:nvCxnSpPr>
        <p:spPr>
          <a:xfrm flipH="1">
            <a:off x="6615387" y="3462541"/>
            <a:ext cx="2223697" cy="186380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DBCF0B3F-D4EA-44A1-883E-DF3535CEEF26}"/>
              </a:ext>
            </a:extLst>
          </p:cNvPr>
          <p:cNvSpPr txBox="1"/>
          <p:nvPr/>
        </p:nvSpPr>
        <p:spPr>
          <a:xfrm rot="19181191">
            <a:off x="6059674" y="4344434"/>
            <a:ext cx="1535885" cy="671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Finne, </a:t>
            </a:r>
            <a:r>
              <a:rPr lang="nb-NO" sz="1400" b="1">
                <a:solidFill>
                  <a:prstClr val="black"/>
                </a:solidFill>
                <a:latin typeface="Poppins"/>
              </a:rPr>
              <a:t>utforske, få</a:t>
            </a: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tilgang til data</a:t>
            </a:r>
          </a:p>
        </p:txBody>
      </p:sp>
      <p:pic>
        <p:nvPicPr>
          <p:cNvPr id="56" name="Bilde 55">
            <a:extLst>
              <a:ext uri="{FF2B5EF4-FFF2-40B4-BE49-F238E27FC236}">
                <a16:creationId xmlns:a16="http://schemas.microsoft.com/office/drawing/2014/main" id="{D9E067B1-7AC7-4487-B754-D3AE229A5C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5585" y="4081559"/>
            <a:ext cx="589656" cy="589656"/>
          </a:xfrm>
          <a:prstGeom prst="rect">
            <a:avLst/>
          </a:prstGeom>
        </p:spPr>
      </p:pic>
      <p:pic>
        <p:nvPicPr>
          <p:cNvPr id="57" name="Bilde 56">
            <a:extLst>
              <a:ext uri="{FF2B5EF4-FFF2-40B4-BE49-F238E27FC236}">
                <a16:creationId xmlns:a16="http://schemas.microsoft.com/office/drawing/2014/main" id="{AEA74A28-CE60-49B8-A4EC-2122D316A5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8377" y="4026965"/>
            <a:ext cx="589656" cy="589656"/>
          </a:xfrm>
          <a:prstGeom prst="rect">
            <a:avLst/>
          </a:prstGeom>
        </p:spPr>
      </p:pic>
      <p:pic>
        <p:nvPicPr>
          <p:cNvPr id="58" name="Bilde 57">
            <a:extLst>
              <a:ext uri="{FF2B5EF4-FFF2-40B4-BE49-F238E27FC236}">
                <a16:creationId xmlns:a16="http://schemas.microsoft.com/office/drawing/2014/main" id="{0A1065BA-BD63-4308-AC21-05DFA1384B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3707" y="2251479"/>
            <a:ext cx="589656" cy="585876"/>
          </a:xfrm>
          <a:prstGeom prst="rect">
            <a:avLst/>
          </a:prstGeom>
        </p:spPr>
      </p:pic>
      <p:pic>
        <p:nvPicPr>
          <p:cNvPr id="68" name="Bilde 67">
            <a:extLst>
              <a:ext uri="{FF2B5EF4-FFF2-40B4-BE49-F238E27FC236}">
                <a16:creationId xmlns:a16="http://schemas.microsoft.com/office/drawing/2014/main" id="{CE82561C-E6C9-434D-A747-1322D109C2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10989" y="1357279"/>
            <a:ext cx="669061" cy="547167"/>
          </a:xfrm>
          <a:prstGeom prst="rect">
            <a:avLst/>
          </a:prstGeom>
        </p:spPr>
      </p:pic>
      <p:pic>
        <p:nvPicPr>
          <p:cNvPr id="70" name="Bilde 69">
            <a:extLst>
              <a:ext uri="{FF2B5EF4-FFF2-40B4-BE49-F238E27FC236}">
                <a16:creationId xmlns:a16="http://schemas.microsoft.com/office/drawing/2014/main" id="{4CF8FF4F-C05B-4C66-8B36-26D728CDE1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80263" y="1926199"/>
            <a:ext cx="1532440" cy="1532440"/>
          </a:xfrm>
          <a:prstGeom prst="rect">
            <a:avLst/>
          </a:prstGeom>
        </p:spPr>
      </p:pic>
      <p:pic>
        <p:nvPicPr>
          <p:cNvPr id="71" name="Bilde 70">
            <a:extLst>
              <a:ext uri="{FF2B5EF4-FFF2-40B4-BE49-F238E27FC236}">
                <a16:creationId xmlns:a16="http://schemas.microsoft.com/office/drawing/2014/main" id="{0D2039A6-1423-40CF-901E-4A5E9412E3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67918" y="5005018"/>
            <a:ext cx="1540958" cy="1545311"/>
          </a:xfrm>
          <a:prstGeom prst="rect">
            <a:avLst/>
          </a:prstGeom>
        </p:spPr>
      </p:pic>
      <p:pic>
        <p:nvPicPr>
          <p:cNvPr id="72" name="Bilde 71">
            <a:extLst>
              <a:ext uri="{FF2B5EF4-FFF2-40B4-BE49-F238E27FC236}">
                <a16:creationId xmlns:a16="http://schemas.microsoft.com/office/drawing/2014/main" id="{E590FA0A-0BC8-4BA8-8009-691E1002B7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88372" y="1934428"/>
            <a:ext cx="1536630" cy="1532301"/>
          </a:xfrm>
          <a:prstGeom prst="rect">
            <a:avLst/>
          </a:prstGeom>
        </p:spPr>
      </p:pic>
      <p:sp>
        <p:nvSpPr>
          <p:cNvPr id="74" name="TekstSylinder 73">
            <a:extLst>
              <a:ext uri="{FF2B5EF4-FFF2-40B4-BE49-F238E27FC236}">
                <a16:creationId xmlns:a16="http://schemas.microsoft.com/office/drawing/2014/main" id="{26335376-96A9-4F34-9189-630F1E7385AC}"/>
              </a:ext>
            </a:extLst>
          </p:cNvPr>
          <p:cNvSpPr txBox="1"/>
          <p:nvPr/>
        </p:nvSpPr>
        <p:spPr>
          <a:xfrm>
            <a:off x="7580050" y="5949588"/>
            <a:ext cx="3290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Fritt etter </a:t>
            </a:r>
            <a:r>
              <a:rPr kumimoji="0" lang="nb-NO" sz="18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irbnb</a:t>
            </a: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Business Model</a:t>
            </a:r>
          </a:p>
        </p:txBody>
      </p:sp>
      <p:cxnSp>
        <p:nvCxnSpPr>
          <p:cNvPr id="76" name="Rett pilkobling 75">
            <a:extLst>
              <a:ext uri="{FF2B5EF4-FFF2-40B4-BE49-F238E27FC236}">
                <a16:creationId xmlns:a16="http://schemas.microsoft.com/office/drawing/2014/main" id="{97BC9887-26B6-4074-970B-7458CE9DC6DD}"/>
              </a:ext>
            </a:extLst>
          </p:cNvPr>
          <p:cNvCxnSpPr>
            <a:cxnSpLocks/>
          </p:cNvCxnSpPr>
          <p:nvPr/>
        </p:nvCxnSpPr>
        <p:spPr>
          <a:xfrm flipV="1">
            <a:off x="1661459" y="3502585"/>
            <a:ext cx="155388" cy="34012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Bilde 78">
            <a:extLst>
              <a:ext uri="{FF2B5EF4-FFF2-40B4-BE49-F238E27FC236}">
                <a16:creationId xmlns:a16="http://schemas.microsoft.com/office/drawing/2014/main" id="{C46A816F-4570-4146-9877-FD18D0A124C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8200" y="3882513"/>
            <a:ext cx="1176630" cy="1280271"/>
          </a:xfrm>
          <a:prstGeom prst="rect">
            <a:avLst/>
          </a:prstGeom>
        </p:spPr>
      </p:pic>
      <p:cxnSp>
        <p:nvCxnSpPr>
          <p:cNvPr id="85" name="Rett pilkobling 84">
            <a:extLst>
              <a:ext uri="{FF2B5EF4-FFF2-40B4-BE49-F238E27FC236}">
                <a16:creationId xmlns:a16="http://schemas.microsoft.com/office/drawing/2014/main" id="{DA5059F9-6EC5-4A21-A3D0-2940315E6B8D}"/>
              </a:ext>
            </a:extLst>
          </p:cNvPr>
          <p:cNvCxnSpPr>
            <a:cxnSpLocks/>
          </p:cNvCxnSpPr>
          <p:nvPr/>
        </p:nvCxnSpPr>
        <p:spPr>
          <a:xfrm flipH="1" flipV="1">
            <a:off x="9885082" y="3457217"/>
            <a:ext cx="215153" cy="30795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Bilde 85">
            <a:extLst>
              <a:ext uri="{FF2B5EF4-FFF2-40B4-BE49-F238E27FC236}">
                <a16:creationId xmlns:a16="http://schemas.microsoft.com/office/drawing/2014/main" id="{A1923B2A-15AC-41EA-9B29-EA29ADC13EE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39350" y="3760278"/>
            <a:ext cx="1176630" cy="1280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0583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91BDD78D-F642-4E37-97CA-531947632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371" y="230588"/>
            <a:ext cx="10437257" cy="5969284"/>
          </a:xfrm>
          <a:prstGeom prst="rect">
            <a:avLst/>
          </a:prstGeom>
        </p:spPr>
      </p:pic>
      <p:sp>
        <p:nvSpPr>
          <p:cNvPr id="12" name="Rektangel: avrundede hjørner 11">
            <a:extLst>
              <a:ext uri="{FF2B5EF4-FFF2-40B4-BE49-F238E27FC236}">
                <a16:creationId xmlns:a16="http://schemas.microsoft.com/office/drawing/2014/main" id="{E437EE09-8016-4442-BB36-27111350CE2B}"/>
              </a:ext>
            </a:extLst>
          </p:cNvPr>
          <p:cNvSpPr/>
          <p:nvPr/>
        </p:nvSpPr>
        <p:spPr>
          <a:xfrm>
            <a:off x="3933245" y="3757910"/>
            <a:ext cx="4325510" cy="2308935"/>
          </a:xfrm>
          <a:prstGeom prst="roundRect">
            <a:avLst>
              <a:gd name="adj" fmla="val 10489"/>
            </a:avLst>
          </a:prstGeom>
          <a:solidFill>
            <a:srgbClr val="F5A3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KUDAF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E1083474-4B6F-43D6-AA2D-B52C76F6072B}"/>
              </a:ext>
            </a:extLst>
          </p:cNvPr>
          <p:cNvSpPr/>
          <p:nvPr/>
        </p:nvSpPr>
        <p:spPr>
          <a:xfrm>
            <a:off x="1106493" y="1097279"/>
            <a:ext cx="3132000" cy="2052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atatilbydere i sektoren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49896AAD-DF4F-4B93-AF5E-97FA5C424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KUDAF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3D26E99-BD18-498E-8069-FF05CE3B8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49AB0-D5ED-A840-B00D-59CC129EA27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A01459C9-F9F5-4DD5-A542-57DBBA8968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0221" y="4139343"/>
            <a:ext cx="3991556" cy="1851505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8FEEDF8C-43A0-4251-8880-5015802D2C98}"/>
              </a:ext>
            </a:extLst>
          </p:cNvPr>
          <p:cNvSpPr txBox="1"/>
          <p:nvPr/>
        </p:nvSpPr>
        <p:spPr>
          <a:xfrm>
            <a:off x="5185685" y="267935"/>
            <a:ext cx="1820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srgbClr val="2F415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osystem</a:t>
            </a:r>
          </a:p>
        </p:txBody>
      </p:sp>
      <p:sp>
        <p:nvSpPr>
          <p:cNvPr id="13" name="Rektangel: avrundede hjørner 12">
            <a:extLst>
              <a:ext uri="{FF2B5EF4-FFF2-40B4-BE49-F238E27FC236}">
                <a16:creationId xmlns:a16="http://schemas.microsoft.com/office/drawing/2014/main" id="{F9A223C5-8999-42E2-94C3-4A99A447E2A3}"/>
              </a:ext>
            </a:extLst>
          </p:cNvPr>
          <p:cNvSpPr/>
          <p:nvPr/>
        </p:nvSpPr>
        <p:spPr>
          <a:xfrm>
            <a:off x="8035542" y="1097278"/>
            <a:ext cx="3132000" cy="2052000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atakonsumenter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B75F8BD9-FEC6-4A6A-82BA-D9BFAA6FCA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6970" y="1704455"/>
            <a:ext cx="2218845" cy="674261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D3211A56-79B8-4D48-A6C6-8A56B0615D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2478" y="1978983"/>
            <a:ext cx="2218845" cy="674261"/>
          </a:xfrm>
          <a:prstGeom prst="rect">
            <a:avLst/>
          </a:prstGeom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CB43AD8E-0130-4982-8A1F-58B84F660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659" y="2253512"/>
            <a:ext cx="2218845" cy="674261"/>
          </a:xfrm>
          <a:prstGeom prst="rect">
            <a:avLst/>
          </a:prstGeom>
        </p:spPr>
      </p:pic>
      <p:pic>
        <p:nvPicPr>
          <p:cNvPr id="20" name="Bilde 19">
            <a:extLst>
              <a:ext uri="{FF2B5EF4-FFF2-40B4-BE49-F238E27FC236}">
                <a16:creationId xmlns:a16="http://schemas.microsoft.com/office/drawing/2014/main" id="{320FDA20-DD52-4C89-B240-98DDF03090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8639" y="1688404"/>
            <a:ext cx="2545806" cy="1002768"/>
          </a:xfrm>
          <a:prstGeom prst="rect">
            <a:avLst/>
          </a:prstGeom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575AC1C7-C70B-49C9-ADE2-FC2DDD2F91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6746" y="1444255"/>
            <a:ext cx="3635058" cy="574157"/>
          </a:xfrm>
          <a:prstGeom prst="rect">
            <a:avLst/>
          </a:prstGeom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2F965CB4-E655-4B68-BFC9-D41393B63A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6567" y="2443797"/>
            <a:ext cx="1678236" cy="1364855"/>
          </a:xfrm>
          <a:prstGeom prst="rect">
            <a:avLst/>
          </a:prstGeom>
        </p:spPr>
      </p:pic>
      <p:pic>
        <p:nvPicPr>
          <p:cNvPr id="24" name="Bilde 23">
            <a:extLst>
              <a:ext uri="{FF2B5EF4-FFF2-40B4-BE49-F238E27FC236}">
                <a16:creationId xmlns:a16="http://schemas.microsoft.com/office/drawing/2014/main" id="{B8D00177-3474-413C-9EEC-D7BA7CDAB06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315219">
            <a:off x="6108143" y="2409349"/>
            <a:ext cx="1735481" cy="1470213"/>
          </a:xfrm>
          <a:prstGeom prst="rect">
            <a:avLst/>
          </a:prstGeom>
        </p:spPr>
      </p:pic>
      <p:pic>
        <p:nvPicPr>
          <p:cNvPr id="25" name="Bilde 24">
            <a:extLst>
              <a:ext uri="{FF2B5EF4-FFF2-40B4-BE49-F238E27FC236}">
                <a16:creationId xmlns:a16="http://schemas.microsoft.com/office/drawing/2014/main" id="{199C1718-5C6C-466A-BC69-9DE85517ABC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V="1">
            <a:off x="4287279" y="1932404"/>
            <a:ext cx="3635058" cy="381383"/>
          </a:xfrm>
          <a:prstGeom prst="rect">
            <a:avLst/>
          </a:prstGeom>
        </p:spPr>
      </p:pic>
      <p:sp>
        <p:nvSpPr>
          <p:cNvPr id="26" name="TekstSylinder 25">
            <a:extLst>
              <a:ext uri="{FF2B5EF4-FFF2-40B4-BE49-F238E27FC236}">
                <a16:creationId xmlns:a16="http://schemas.microsoft.com/office/drawing/2014/main" id="{118CED4C-AA0D-4894-A624-61CB096A5DFD}"/>
              </a:ext>
            </a:extLst>
          </p:cNvPr>
          <p:cNvSpPr txBox="1"/>
          <p:nvPr/>
        </p:nvSpPr>
        <p:spPr>
          <a:xfrm>
            <a:off x="9951982" y="2400079"/>
            <a:ext cx="131318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Innsikt o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b="1">
                <a:solidFill>
                  <a:prstClr val="black"/>
                </a:solidFill>
                <a:latin typeface="Poppins"/>
              </a:rPr>
              <a:t>k</a:t>
            </a:r>
            <a:r>
              <a:rPr kumimoji="0" lang="nb-NO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unnskaps</a:t>
            </a: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grunnlag</a:t>
            </a:r>
          </a:p>
        </p:txBody>
      </p:sp>
    </p:spTree>
    <p:extLst>
      <p:ext uri="{BB962C8B-B14F-4D97-AF65-F5344CB8AC3E}">
        <p14:creationId xmlns:p14="http://schemas.microsoft.com/office/powerpoint/2010/main" val="20589014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ktangel: avrundede hjørner 30">
            <a:extLst>
              <a:ext uri="{FF2B5EF4-FFF2-40B4-BE49-F238E27FC236}">
                <a16:creationId xmlns:a16="http://schemas.microsoft.com/office/drawing/2014/main" id="{DFCE0214-62FD-4946-8FF5-8F238B9E02C1}"/>
              </a:ext>
            </a:extLst>
          </p:cNvPr>
          <p:cNvSpPr/>
          <p:nvPr/>
        </p:nvSpPr>
        <p:spPr>
          <a:xfrm>
            <a:off x="1274323" y="1319390"/>
            <a:ext cx="10437780" cy="5538610"/>
          </a:xfrm>
          <a:prstGeom prst="roundRect">
            <a:avLst>
              <a:gd name="adj" fmla="val 91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endParaRPr lang="nb-NO" sz="3200" b="1">
              <a:solidFill>
                <a:schemeClr val="tx1"/>
              </a:solidFill>
            </a:endParaRP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989CAE94-4B42-4E8D-913B-CF588B97C515}"/>
              </a:ext>
            </a:extLst>
          </p:cNvPr>
          <p:cNvSpPr/>
          <p:nvPr/>
        </p:nvSpPr>
        <p:spPr>
          <a:xfrm>
            <a:off x="2492562" y="4705278"/>
            <a:ext cx="6615953" cy="1858959"/>
          </a:xfrm>
          <a:prstGeom prst="roundRect">
            <a:avLst/>
          </a:prstGeom>
          <a:solidFill>
            <a:srgbClr val="BCB1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b-NO">
                <a:solidFill>
                  <a:schemeClr val="tx1"/>
                </a:solidFill>
              </a:rPr>
              <a:t>Felles infrastruktur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5937AAA9-F623-4247-98B5-B2B59F2B9185}"/>
              </a:ext>
            </a:extLst>
          </p:cNvPr>
          <p:cNvSpPr/>
          <p:nvPr/>
        </p:nvSpPr>
        <p:spPr>
          <a:xfrm>
            <a:off x="2492562" y="2745274"/>
            <a:ext cx="6615953" cy="1613071"/>
          </a:xfrm>
          <a:prstGeom prst="roundRect">
            <a:avLst/>
          </a:prstGeom>
          <a:solidFill>
            <a:srgbClr val="BCB1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b-NO">
                <a:solidFill>
                  <a:schemeClr val="tx1"/>
                </a:solidFill>
              </a:rPr>
              <a:t>Prosesser og tjenester for digital samhandling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0033021A-DCC1-483B-92FC-04006E9AB0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3638" y="3427059"/>
            <a:ext cx="1200150" cy="642938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36E2B7F1-1013-43C2-9011-77A005CD69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1302" y="3422544"/>
            <a:ext cx="1200150" cy="642938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AEA0F132-B68F-4422-9DBC-C86CD2ABC2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2528" y="3422544"/>
            <a:ext cx="1200150" cy="642938"/>
          </a:xfrm>
          <a:prstGeom prst="rect">
            <a:avLst/>
          </a:prstGeom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9091AD32-DBC4-4D2D-84DB-AAEACD9A0E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7516" y="3427059"/>
            <a:ext cx="1200150" cy="642938"/>
          </a:xfrm>
          <a:prstGeom prst="rect">
            <a:avLst/>
          </a:prstGeom>
        </p:spPr>
      </p:pic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0E39D62F-0448-4301-8C30-D86D057C75C5}"/>
              </a:ext>
            </a:extLst>
          </p:cNvPr>
          <p:cNvCxnSpPr>
            <a:cxnSpLocks/>
            <a:stCxn id="6" idx="2"/>
            <a:endCxn id="5" idx="0"/>
          </p:cNvCxnSpPr>
          <p:nvPr/>
        </p:nvCxnSpPr>
        <p:spPr>
          <a:xfrm>
            <a:off x="5800539" y="4358345"/>
            <a:ext cx="0" cy="346933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Bilde 15">
            <a:extLst>
              <a:ext uri="{FF2B5EF4-FFF2-40B4-BE49-F238E27FC236}">
                <a16:creationId xmlns:a16="http://schemas.microsoft.com/office/drawing/2014/main" id="{A081E4F1-AAC2-4308-AEE7-B51FF06E05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9430" y="3427059"/>
            <a:ext cx="1200150" cy="642938"/>
          </a:xfrm>
          <a:prstGeom prst="rect">
            <a:avLst/>
          </a:prstGeom>
        </p:spPr>
      </p:pic>
      <p:sp>
        <p:nvSpPr>
          <p:cNvPr id="17" name="Tittel 1">
            <a:extLst>
              <a:ext uri="{FF2B5EF4-FFF2-40B4-BE49-F238E27FC236}">
                <a16:creationId xmlns:a16="http://schemas.microsoft.com/office/drawing/2014/main" id="{FFA01300-FFFB-4E2F-8399-7ACF2234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7175"/>
            <a:ext cx="10515600" cy="874750"/>
          </a:xfrm>
        </p:spPr>
        <p:txBody>
          <a:bodyPr/>
          <a:lstStyle/>
          <a:p>
            <a:r>
              <a:rPr lang="nb-NO"/>
              <a:t>KUDAF som plattform for å understøtte økosystem av data</a:t>
            </a:r>
            <a:endParaRPr lang="nb-NO" i="1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18939BD-B446-41F4-A278-BDAD1E1AE6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23556" y="5631517"/>
            <a:ext cx="1191026" cy="638050"/>
          </a:xfrm>
          <a:prstGeom prst="rect">
            <a:avLst/>
          </a:prstGeom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6CFE8A98-4043-4E44-9F38-1537D12556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60026" y="5649959"/>
            <a:ext cx="1200150" cy="642938"/>
          </a:xfrm>
          <a:prstGeom prst="rect">
            <a:avLst/>
          </a:prstGeom>
        </p:spPr>
      </p:pic>
      <p:pic>
        <p:nvPicPr>
          <p:cNvPr id="28" name="Bilde 27">
            <a:extLst>
              <a:ext uri="{FF2B5EF4-FFF2-40B4-BE49-F238E27FC236}">
                <a16:creationId xmlns:a16="http://schemas.microsoft.com/office/drawing/2014/main" id="{C1C58CE6-046B-43A0-948A-551DD2F8BD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8254" y="5748080"/>
            <a:ext cx="1200150" cy="642938"/>
          </a:xfrm>
          <a:prstGeom prst="rect">
            <a:avLst/>
          </a:prstGeom>
        </p:spPr>
      </p:pic>
      <p:pic>
        <p:nvPicPr>
          <p:cNvPr id="36" name="Bilde 35">
            <a:extLst>
              <a:ext uri="{FF2B5EF4-FFF2-40B4-BE49-F238E27FC236}">
                <a16:creationId xmlns:a16="http://schemas.microsoft.com/office/drawing/2014/main" id="{9A65859F-DECA-4346-A167-0B74FFB703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35384" y="4895672"/>
            <a:ext cx="1200150" cy="642938"/>
          </a:xfrm>
          <a:prstGeom prst="rect">
            <a:avLst/>
          </a:prstGeom>
        </p:spPr>
      </p:pic>
      <p:cxnSp>
        <p:nvCxnSpPr>
          <p:cNvPr id="38" name="Rett linje 37">
            <a:extLst>
              <a:ext uri="{FF2B5EF4-FFF2-40B4-BE49-F238E27FC236}">
                <a16:creationId xmlns:a16="http://schemas.microsoft.com/office/drawing/2014/main" id="{0F5950D2-000A-4F4B-B5E7-63C2CE379EA0}"/>
              </a:ext>
            </a:extLst>
          </p:cNvPr>
          <p:cNvCxnSpPr>
            <a:cxnSpLocks/>
            <a:endCxn id="40" idx="0"/>
          </p:cNvCxnSpPr>
          <p:nvPr/>
        </p:nvCxnSpPr>
        <p:spPr>
          <a:xfrm flipV="1">
            <a:off x="5938006" y="5588088"/>
            <a:ext cx="323" cy="248542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Likebent trekant 39">
            <a:extLst>
              <a:ext uri="{FF2B5EF4-FFF2-40B4-BE49-F238E27FC236}">
                <a16:creationId xmlns:a16="http://schemas.microsoft.com/office/drawing/2014/main" id="{3972C8E8-316A-45DB-BF04-562E431CD41F}"/>
              </a:ext>
            </a:extLst>
          </p:cNvPr>
          <p:cNvSpPr/>
          <p:nvPr/>
        </p:nvSpPr>
        <p:spPr>
          <a:xfrm rot="10800000">
            <a:off x="5812329" y="5444088"/>
            <a:ext cx="252000" cy="144000"/>
          </a:xfrm>
          <a:prstGeom prst="triangle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Dokument 19">
            <a:extLst>
              <a:ext uri="{FF2B5EF4-FFF2-40B4-BE49-F238E27FC236}">
                <a16:creationId xmlns:a16="http://schemas.microsoft.com/office/drawing/2014/main" id="{EC9F3F78-7CF3-427E-BCE7-20EFB799A7BF}"/>
              </a:ext>
            </a:extLst>
          </p:cNvPr>
          <p:cNvSpPr/>
          <p:nvPr/>
        </p:nvSpPr>
        <p:spPr>
          <a:xfrm>
            <a:off x="10173435" y="2475778"/>
            <a:ext cx="1167974" cy="977793"/>
          </a:xfrm>
          <a:prstGeom prst="flowChartDocumen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eferansearkitektur</a:t>
            </a:r>
          </a:p>
        </p:txBody>
      </p:sp>
      <p:sp>
        <p:nvSpPr>
          <p:cNvPr id="23" name="Rektangel: avrundede hjørner 22">
            <a:extLst>
              <a:ext uri="{FF2B5EF4-FFF2-40B4-BE49-F238E27FC236}">
                <a16:creationId xmlns:a16="http://schemas.microsoft.com/office/drawing/2014/main" id="{E61FE8FA-D8A8-40E5-8BED-C7B5791E57C0}"/>
              </a:ext>
            </a:extLst>
          </p:cNvPr>
          <p:cNvSpPr/>
          <p:nvPr/>
        </p:nvSpPr>
        <p:spPr>
          <a:xfrm rot="16200000">
            <a:off x="7828113" y="4383455"/>
            <a:ext cx="3818963" cy="542600"/>
          </a:xfrm>
          <a:prstGeom prst="roundRect">
            <a:avLst/>
          </a:prstGeom>
          <a:solidFill>
            <a:srgbClr val="BCB1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nb-NO">
                <a:solidFill>
                  <a:schemeClr val="tx1"/>
                </a:solidFill>
              </a:rPr>
              <a:t>Arkitekturstyring</a:t>
            </a:r>
          </a:p>
        </p:txBody>
      </p: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78ABA829-A0E0-44FB-BA9C-7001803FF392}"/>
              </a:ext>
            </a:extLst>
          </p:cNvPr>
          <p:cNvCxnSpPr>
            <a:cxnSpLocks/>
            <a:endCxn id="6" idx="3"/>
          </p:cNvCxnSpPr>
          <p:nvPr/>
        </p:nvCxnSpPr>
        <p:spPr>
          <a:xfrm flipH="1">
            <a:off x="9108515" y="3551810"/>
            <a:ext cx="357779" cy="0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254C73F0-E75C-4819-969F-C6E1A0D3B52A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9108515" y="5630957"/>
            <a:ext cx="334853" cy="3801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Kobling: vinkel 33">
            <a:extLst>
              <a:ext uri="{FF2B5EF4-FFF2-40B4-BE49-F238E27FC236}">
                <a16:creationId xmlns:a16="http://schemas.microsoft.com/office/drawing/2014/main" id="{0A3B656F-8654-4DCE-A71A-2A570EB378A5}"/>
              </a:ext>
            </a:extLst>
          </p:cNvPr>
          <p:cNvCxnSpPr>
            <a:stCxn id="20" idx="2"/>
            <a:endCxn id="23" idx="2"/>
          </p:cNvCxnSpPr>
          <p:nvPr/>
        </p:nvCxnSpPr>
        <p:spPr>
          <a:xfrm rot="5400000">
            <a:off x="9750246" y="3647578"/>
            <a:ext cx="1265827" cy="748527"/>
          </a:xfrm>
          <a:prstGeom prst="bentConnector4">
            <a:avLst>
              <a:gd name="adj1" fmla="val 36730"/>
              <a:gd name="adj2" fmla="val -38"/>
            </a:avLst>
          </a:prstGeom>
          <a:ln w="222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ktangel: avrundede hjørner 38">
            <a:extLst>
              <a:ext uri="{FF2B5EF4-FFF2-40B4-BE49-F238E27FC236}">
                <a16:creationId xmlns:a16="http://schemas.microsoft.com/office/drawing/2014/main" id="{5356B58C-8683-4152-A1DA-7906B7472773}"/>
              </a:ext>
            </a:extLst>
          </p:cNvPr>
          <p:cNvSpPr/>
          <p:nvPr/>
        </p:nvSpPr>
        <p:spPr>
          <a:xfrm>
            <a:off x="2250217" y="2019550"/>
            <a:ext cx="9303027" cy="4667497"/>
          </a:xfrm>
          <a:prstGeom prst="roundRect">
            <a:avLst>
              <a:gd name="adj" fmla="val 5467"/>
            </a:avLst>
          </a:prstGeom>
          <a:noFill/>
          <a:ln w="254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b-NO" sz="2000" b="1">
                <a:solidFill>
                  <a:schemeClr val="tx1"/>
                </a:solidFill>
              </a:rPr>
              <a:t>Plattform for datadeling</a:t>
            </a:r>
          </a:p>
        </p:txBody>
      </p:sp>
      <p:cxnSp>
        <p:nvCxnSpPr>
          <p:cNvPr id="29" name="Rett linje 28">
            <a:extLst>
              <a:ext uri="{FF2B5EF4-FFF2-40B4-BE49-F238E27FC236}">
                <a16:creationId xmlns:a16="http://schemas.microsoft.com/office/drawing/2014/main" id="{CB530F22-F9BB-44D2-B46E-731E9F27ABDF}"/>
              </a:ext>
            </a:extLst>
          </p:cNvPr>
          <p:cNvCxnSpPr>
            <a:cxnSpLocks/>
            <a:stCxn id="5" idx="1"/>
          </p:cNvCxnSpPr>
          <p:nvPr/>
        </p:nvCxnSpPr>
        <p:spPr>
          <a:xfrm flipH="1" flipV="1">
            <a:off x="1949961" y="5630957"/>
            <a:ext cx="542601" cy="3801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46792841-6069-4D6C-A8AA-A8AB98D7F783}"/>
              </a:ext>
            </a:extLst>
          </p:cNvPr>
          <p:cNvCxnSpPr>
            <a:cxnSpLocks/>
            <a:stCxn id="6" idx="1"/>
          </p:cNvCxnSpPr>
          <p:nvPr/>
        </p:nvCxnSpPr>
        <p:spPr>
          <a:xfrm flipH="1">
            <a:off x="1996556" y="3551810"/>
            <a:ext cx="496006" cy="0"/>
          </a:xfrm>
          <a:prstGeom prst="line">
            <a:avLst/>
          </a:prstGeom>
          <a:ln w="222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kstSylinder 1">
            <a:extLst>
              <a:ext uri="{FF2B5EF4-FFF2-40B4-BE49-F238E27FC236}">
                <a16:creationId xmlns:a16="http://schemas.microsoft.com/office/drawing/2014/main" id="{58474331-1D6C-48D2-B305-77CEEE36C06F}"/>
              </a:ext>
            </a:extLst>
          </p:cNvPr>
          <p:cNvSpPr txBox="1"/>
          <p:nvPr/>
        </p:nvSpPr>
        <p:spPr>
          <a:xfrm>
            <a:off x="5482364" y="1397052"/>
            <a:ext cx="1820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b="1"/>
              <a:t>Økosystem</a:t>
            </a:r>
          </a:p>
        </p:txBody>
      </p:sp>
      <p:sp>
        <p:nvSpPr>
          <p:cNvPr id="32" name="Rektangel: avrundede hjørner 31">
            <a:extLst>
              <a:ext uri="{FF2B5EF4-FFF2-40B4-BE49-F238E27FC236}">
                <a16:creationId xmlns:a16="http://schemas.microsoft.com/office/drawing/2014/main" id="{D4E308B6-8C4A-49AE-AC92-8638C5E4D0FA}"/>
              </a:ext>
            </a:extLst>
          </p:cNvPr>
          <p:cNvSpPr/>
          <p:nvPr/>
        </p:nvSpPr>
        <p:spPr>
          <a:xfrm rot="16200000">
            <a:off x="-245631" y="4444861"/>
            <a:ext cx="3941773" cy="542600"/>
          </a:xfrm>
          <a:prstGeom prst="roundRect">
            <a:avLst/>
          </a:prstGeom>
          <a:solidFill>
            <a:srgbClr val="BCB1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b-NO" err="1">
                <a:solidFill>
                  <a:schemeClr val="tx1"/>
                </a:solidFill>
              </a:rPr>
              <a:t>Verikjedearbeid</a:t>
            </a:r>
            <a:r>
              <a:rPr lang="nb-NO">
                <a:solidFill>
                  <a:schemeClr val="tx1"/>
                </a:solidFill>
              </a:rPr>
              <a:t> (behovsanalyser)</a:t>
            </a:r>
          </a:p>
        </p:txBody>
      </p:sp>
    </p:spTree>
    <p:extLst>
      <p:ext uri="{BB962C8B-B14F-4D97-AF65-F5344CB8AC3E}">
        <p14:creationId xmlns:p14="http://schemas.microsoft.com/office/powerpoint/2010/main" val="15494816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0B69F06-A07F-4233-828F-C5CADFE80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650506" cy="1325563"/>
          </a:xfrm>
        </p:spPr>
        <p:txBody>
          <a:bodyPr/>
          <a:lstStyle/>
          <a:p>
            <a:r>
              <a:rPr lang="nb-NO" err="1"/>
              <a:t>KUDAFs</a:t>
            </a:r>
            <a:r>
              <a:rPr lang="nb-NO"/>
              <a:t> behov til metadatakatalogen for beskrivelse av dataprodukter (datasett)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B26B046-4E26-4A11-9AEB-945F239C40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Metadata som gjør det enkelt å finne relevante dataprodukter ut fra søkeord om type data, formål med data, bruksområder, etc.</a:t>
            </a:r>
          </a:p>
          <a:p>
            <a:pPr lvl="1"/>
            <a:r>
              <a:rPr lang="nb-NO" dirty="0"/>
              <a:t>Kategorisering av data (type data, formål, bruksområder, …)</a:t>
            </a:r>
          </a:p>
          <a:p>
            <a:pPr lvl="1"/>
            <a:r>
              <a:rPr lang="nb-NO" dirty="0"/>
              <a:t>Vilkår for bruk (lisens, lovhjemmel, samtykke, søknad)</a:t>
            </a:r>
          </a:p>
          <a:p>
            <a:pPr lvl="1"/>
            <a:r>
              <a:rPr lang="nb-NO" dirty="0"/>
              <a:t>Automatisert beriking av metadata gjennom bruk</a:t>
            </a:r>
          </a:p>
          <a:p>
            <a:pPr lvl="1"/>
            <a:r>
              <a:rPr lang="nb-NO" dirty="0"/>
              <a:t>Støtte for å beskrive dataprodukter på en måte som legger til rette for fleksibel og selvbetjent brukerstyrt kobling av datasett (dataprodukter) </a:t>
            </a:r>
          </a:p>
          <a:p>
            <a:pPr lvl="1" algn="just"/>
            <a:r>
              <a:rPr lang="nb-NO" dirty="0"/>
              <a:t>Anbefalingssystem basert på </a:t>
            </a:r>
            <a:r>
              <a:rPr lang="nb-NO" i="1" dirty="0" err="1"/>
              <a:t>collaborative</a:t>
            </a:r>
            <a:r>
              <a:rPr lang="nb-NO" i="1" dirty="0"/>
              <a:t> </a:t>
            </a:r>
            <a:r>
              <a:rPr lang="nb-NO" i="1" dirty="0" err="1"/>
              <a:t>filtering</a:t>
            </a:r>
            <a:endParaRPr lang="nb-NO" i="1" dirty="0"/>
          </a:p>
          <a:p>
            <a:pPr lvl="1" algn="just"/>
            <a:r>
              <a:rPr lang="nb-NO" dirty="0" err="1"/>
              <a:t>Brukerrating</a:t>
            </a:r>
            <a:r>
              <a:rPr lang="nb-NO" dirty="0"/>
              <a:t> av dataprodukter?</a:t>
            </a:r>
          </a:p>
          <a:p>
            <a:pPr lvl="1" algn="just"/>
            <a:r>
              <a:rPr lang="nb-NO" dirty="0"/>
              <a:t>…</a:t>
            </a:r>
          </a:p>
          <a:p>
            <a:pPr algn="just"/>
            <a:endParaRPr lang="nb-NO" dirty="0"/>
          </a:p>
          <a:p>
            <a:pPr lvl="1" algn="just"/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53572985-F576-4A8E-B925-1504F9660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A2E8599-FC9A-4BCE-90C9-79E625D62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01386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748072D-59E8-48FD-934C-FE85B4B4A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atautforsker (metadatadrevet kobling av dataprodukter)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0066FB41-AB6C-4A92-99DA-F8010F36A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D53D6CA-DAF4-4780-BB8E-C92F0AF7C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16</a:t>
            </a:fld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AB8F297B-E718-4CE7-A0CB-E3ECF8A484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1656" y="1706055"/>
            <a:ext cx="7611338" cy="480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078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8A36B3E-8821-49DA-8791-FDE75839C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6229" y="387643"/>
            <a:ext cx="10515600" cy="955834"/>
          </a:xfrm>
        </p:spPr>
        <p:txBody>
          <a:bodyPr>
            <a:normAutofit/>
          </a:bodyPr>
          <a:lstStyle/>
          <a:p>
            <a:r>
              <a:rPr lang="nb-NO"/>
              <a:t>Hvordan KUDAF understøtter den nasjonale verktøykassen for deling av data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D5E4021-439E-4673-B0E3-027A65356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53002" y="6755918"/>
            <a:ext cx="4114800" cy="365125"/>
          </a:xfrm>
        </p:spPr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D227D76-A4D8-4A02-B891-AAC0853DD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32056" y="6755918"/>
            <a:ext cx="675640" cy="365125"/>
          </a:xfrm>
        </p:spPr>
        <p:txBody>
          <a:bodyPr/>
          <a:lstStyle/>
          <a:p>
            <a:fld id="{68549AB0-D5ED-A840-B00D-59CC129EA27F}" type="slidenum">
              <a:rPr lang="nb-NO" smtClean="0"/>
              <a:t>17</a:t>
            </a:fld>
            <a:endParaRPr lang="nb-NO"/>
          </a:p>
        </p:txBody>
      </p:sp>
      <p:pic>
        <p:nvPicPr>
          <p:cNvPr id="6" name="Grafikk 5">
            <a:extLst>
              <a:ext uri="{FF2B5EF4-FFF2-40B4-BE49-F238E27FC236}">
                <a16:creationId xmlns:a16="http://schemas.microsoft.com/office/drawing/2014/main" id="{B1470532-192D-40F7-99B0-467DA6F1A9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69978" y="1564527"/>
            <a:ext cx="9471851" cy="5327916"/>
          </a:xfrm>
          <a:prstGeom prst="rect">
            <a:avLst/>
          </a:prstGeom>
        </p:spPr>
      </p:pic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32C205B4-7F6E-4E67-BAA9-176C24D97531}"/>
              </a:ext>
            </a:extLst>
          </p:cNvPr>
          <p:cNvSpPr/>
          <p:nvPr/>
        </p:nvSpPr>
        <p:spPr>
          <a:xfrm>
            <a:off x="1252498" y="1564527"/>
            <a:ext cx="10242815" cy="955834"/>
          </a:xfrm>
          <a:prstGeom prst="roundRect">
            <a:avLst/>
          </a:prstGeom>
          <a:solidFill>
            <a:srgbClr val="D3CEF5">
              <a:alpha val="35000"/>
            </a:srgb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>
                <a:solidFill>
                  <a:schemeClr val="tx1"/>
                </a:solidFill>
              </a:rPr>
              <a:t>Data-</a:t>
            </a:r>
          </a:p>
          <a:p>
            <a:r>
              <a:rPr lang="nb-NO">
                <a:solidFill>
                  <a:schemeClr val="tx1"/>
                </a:solidFill>
              </a:rPr>
              <a:t>konsumenter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13E7B177-3F35-49B0-BF22-9C4726EC2C15}"/>
              </a:ext>
            </a:extLst>
          </p:cNvPr>
          <p:cNvSpPr/>
          <p:nvPr/>
        </p:nvSpPr>
        <p:spPr>
          <a:xfrm>
            <a:off x="1252496" y="5136776"/>
            <a:ext cx="10242817" cy="1619142"/>
          </a:xfrm>
          <a:prstGeom prst="roundRect">
            <a:avLst/>
          </a:prstGeom>
          <a:solidFill>
            <a:srgbClr val="D3CEF5">
              <a:alpha val="35000"/>
            </a:srgb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>
                <a:solidFill>
                  <a:schemeClr val="tx1"/>
                </a:solidFill>
              </a:rPr>
              <a:t>Data-</a:t>
            </a:r>
          </a:p>
          <a:p>
            <a:r>
              <a:rPr lang="nb-NO">
                <a:solidFill>
                  <a:schemeClr val="tx1"/>
                </a:solidFill>
              </a:rPr>
              <a:t>tilbydere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F902F49F-1569-4249-A23A-EBD57CCB2988}"/>
              </a:ext>
            </a:extLst>
          </p:cNvPr>
          <p:cNvSpPr/>
          <p:nvPr/>
        </p:nvSpPr>
        <p:spPr>
          <a:xfrm>
            <a:off x="1252498" y="2605836"/>
            <a:ext cx="10242816" cy="2450256"/>
          </a:xfrm>
          <a:prstGeom prst="roundRect">
            <a:avLst/>
          </a:prstGeom>
          <a:solidFill>
            <a:schemeClr val="tx2">
              <a:lumMod val="90000"/>
              <a:alpha val="30000"/>
            </a:schemeClr>
          </a:solidFill>
          <a:ln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>
                <a:solidFill>
                  <a:schemeClr val="tx1"/>
                </a:solidFill>
              </a:rPr>
              <a:t>KUDAF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ED238411-2375-4A40-B68A-AF5860B0CE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9050" y="2798401"/>
            <a:ext cx="438950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476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DFB6C8-D879-4532-BC92-7CE015275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rdikjedeanalyser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2E7279A-07B1-4549-970D-DD29D82062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722D2E0-EED4-4359-BAAC-D9842AD91B9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077200" y="6356350"/>
            <a:ext cx="4114800" cy="365125"/>
          </a:xfrm>
        </p:spPr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01F1B23-172B-4F9C-90FB-06B109E0012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15725" y="6356350"/>
            <a:ext cx="676275" cy="365125"/>
          </a:xfrm>
        </p:spPr>
        <p:txBody>
          <a:bodyPr/>
          <a:lstStyle/>
          <a:p>
            <a:fld id="{68549AB0-D5ED-A840-B00D-59CC129EA27F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9980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2D8DAD-4556-4874-A224-29B6ABE3F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2D8DAD-4556-4874-A224-29B6ABE3F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93CD0EAC-25C4-44F5-B92F-58F6D9D41671}"/>
              </a:ext>
            </a:extLst>
          </p:cNvPr>
          <p:cNvCxnSpPr>
            <a:cxnSpLocks/>
            <a:stCxn id="85" idx="0"/>
            <a:endCxn id="5" idx="2"/>
          </p:cNvCxnSpPr>
          <p:nvPr/>
        </p:nvCxnSpPr>
        <p:spPr>
          <a:xfrm rot="16200000" flipV="1">
            <a:off x="7654637" y="-92850"/>
            <a:ext cx="1501363" cy="4618636"/>
          </a:xfrm>
          <a:prstGeom prst="bentConnector3">
            <a:avLst>
              <a:gd name="adj1" fmla="val 82522"/>
            </a:avLst>
          </a:prstGeom>
          <a:ln w="38100">
            <a:solidFill>
              <a:srgbClr val="E26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9">
            <a:extLst>
              <a:ext uri="{FF2B5EF4-FFF2-40B4-BE49-F238E27FC236}">
                <a16:creationId xmlns:a16="http://schemas.microsoft.com/office/drawing/2014/main" id="{428CF4B4-BBD2-4B37-85CE-CA3DD183E02D}"/>
              </a:ext>
            </a:extLst>
          </p:cNvPr>
          <p:cNvSpPr txBox="1">
            <a:spLocks/>
          </p:cNvSpPr>
          <p:nvPr/>
        </p:nvSpPr>
        <p:spPr>
          <a:xfrm>
            <a:off x="3928941" y="962206"/>
            <a:ext cx="4334118" cy="503580"/>
          </a:xfrm>
          <a:prstGeom prst="rect">
            <a:avLst/>
          </a:prstGeom>
          <a:solidFill>
            <a:srgbClr val="EA8A8A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800" b="1" spc="300">
                <a:solidFill>
                  <a:schemeClr val="bg1"/>
                </a:solidFill>
              </a:rPr>
              <a:t>FORMÅL MED VERDIKJEDEN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305F15C-010F-42C3-8996-EDEC6CD674BC}"/>
              </a:ext>
            </a:extLst>
          </p:cNvPr>
          <p:cNvSpPr txBox="1">
            <a:spLocks/>
          </p:cNvSpPr>
          <p:nvPr/>
        </p:nvSpPr>
        <p:spPr>
          <a:xfrm>
            <a:off x="493826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A72B8394-B591-45F8-BC7B-FC43207D8F86}"/>
              </a:ext>
            </a:extLst>
          </p:cNvPr>
          <p:cNvSpPr txBox="1">
            <a:spLocks/>
          </p:cNvSpPr>
          <p:nvPr/>
        </p:nvSpPr>
        <p:spPr>
          <a:xfrm>
            <a:off x="2818047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  <a:r>
              <a:rPr lang="nb-NO" sz="1400" b="1" baseline="300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95DACBE9-11C2-497E-A7A2-C99ACF79BDDC}"/>
              </a:ext>
            </a:extLst>
          </p:cNvPr>
          <p:cNvSpPr txBox="1">
            <a:spLocks/>
          </p:cNvSpPr>
          <p:nvPr/>
        </p:nvSpPr>
        <p:spPr>
          <a:xfrm>
            <a:off x="5142268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7DDF376-8FC9-41F9-BD12-A6B4A466501D}"/>
              </a:ext>
            </a:extLst>
          </p:cNvPr>
          <p:cNvSpPr txBox="1">
            <a:spLocks/>
          </p:cNvSpPr>
          <p:nvPr/>
        </p:nvSpPr>
        <p:spPr>
          <a:xfrm>
            <a:off x="7466489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41AE601-01D5-4235-88D1-17EED12FC6C5}"/>
              </a:ext>
            </a:extLst>
          </p:cNvPr>
          <p:cNvCxnSpPr>
            <a:cxnSpLocks/>
            <a:stCxn id="6" idx="0"/>
            <a:endCxn id="5" idx="2"/>
          </p:cNvCxnSpPr>
          <p:nvPr/>
        </p:nvCxnSpPr>
        <p:spPr>
          <a:xfrm rot="5400000" flipH="1" flipV="1">
            <a:off x="3006194" y="-122656"/>
            <a:ext cx="1501363" cy="4678249"/>
          </a:xfrm>
          <a:prstGeom prst="bentConnector3">
            <a:avLst>
              <a:gd name="adj1" fmla="val 83351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3C0E2B4B-8AC6-4E3A-A71B-CD5162CB6F24}"/>
              </a:ext>
            </a:extLst>
          </p:cNvPr>
          <p:cNvCxnSpPr>
            <a:cxnSpLocks/>
            <a:stCxn id="7" idx="0"/>
            <a:endCxn id="5" idx="2"/>
          </p:cNvCxnSpPr>
          <p:nvPr/>
        </p:nvCxnSpPr>
        <p:spPr>
          <a:xfrm rot="5400000" flipH="1" flipV="1">
            <a:off x="4168305" y="1039454"/>
            <a:ext cx="1501363" cy="2354028"/>
          </a:xfrm>
          <a:prstGeom prst="bentConnector3">
            <a:avLst>
              <a:gd name="adj1" fmla="val 83113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D06BBF21-1F64-4539-BDC6-9F5B150CBC74}"/>
              </a:ext>
            </a:extLst>
          </p:cNvPr>
          <p:cNvCxnSpPr>
            <a:cxnSpLocks/>
            <a:stCxn id="8" idx="0"/>
            <a:endCxn id="5" idx="2"/>
          </p:cNvCxnSpPr>
          <p:nvPr/>
        </p:nvCxnSpPr>
        <p:spPr>
          <a:xfrm rot="5400000" flipH="1" flipV="1">
            <a:off x="5330415" y="2201565"/>
            <a:ext cx="1501363" cy="29807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4815BEA-F788-4042-89F5-F014651536F7}"/>
              </a:ext>
            </a:extLst>
          </p:cNvPr>
          <p:cNvSpPr/>
          <p:nvPr/>
        </p:nvSpPr>
        <p:spPr>
          <a:xfrm>
            <a:off x="570024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7D6A351-26BF-4A44-88E6-7F0DCC72A8B7}"/>
              </a:ext>
            </a:extLst>
          </p:cNvPr>
          <p:cNvSpPr/>
          <p:nvPr/>
        </p:nvSpPr>
        <p:spPr>
          <a:xfrm>
            <a:off x="2894245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0BBEB5-E853-476A-8E64-52F1BC57510A}"/>
              </a:ext>
            </a:extLst>
          </p:cNvPr>
          <p:cNvSpPr/>
          <p:nvPr/>
        </p:nvSpPr>
        <p:spPr>
          <a:xfrm>
            <a:off x="5218466" y="1867861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F7AAAC7-5E53-4382-A045-0A9FDFCC8F6A}"/>
              </a:ext>
            </a:extLst>
          </p:cNvPr>
          <p:cNvSpPr/>
          <p:nvPr/>
        </p:nvSpPr>
        <p:spPr>
          <a:xfrm>
            <a:off x="9866909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nb-NO" sz="900">
                <a:solidFill>
                  <a:schemeClr val="tx1"/>
                </a:solidFill>
              </a:rPr>
            </a:br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  <a:p>
            <a:pPr algn="ctr"/>
            <a:endParaRPr lang="nb-NO" sz="900">
              <a:solidFill>
                <a:schemeClr val="tx1"/>
              </a:solidFill>
            </a:endParaRPr>
          </a:p>
        </p:txBody>
      </p:sp>
      <p:sp>
        <p:nvSpPr>
          <p:cNvPr id="56" name="Rectangle 9">
            <a:extLst>
              <a:ext uri="{FF2B5EF4-FFF2-40B4-BE49-F238E27FC236}">
                <a16:creationId xmlns:a16="http://schemas.microsoft.com/office/drawing/2014/main" id="{F0EA00F6-9493-48E7-B535-5C3795B44237}"/>
              </a:ext>
            </a:extLst>
          </p:cNvPr>
          <p:cNvSpPr txBox="1">
            <a:spLocks/>
          </p:cNvSpPr>
          <p:nvPr/>
        </p:nvSpPr>
        <p:spPr>
          <a:xfrm>
            <a:off x="6076065" y="4951462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sp>
        <p:nvSpPr>
          <p:cNvPr id="57" name="Rectangle 9">
            <a:extLst>
              <a:ext uri="{FF2B5EF4-FFF2-40B4-BE49-F238E27FC236}">
                <a16:creationId xmlns:a16="http://schemas.microsoft.com/office/drawing/2014/main" id="{6DBB4978-0F4A-4856-B903-8EBAE3459345}"/>
              </a:ext>
            </a:extLst>
          </p:cNvPr>
          <p:cNvSpPr txBox="1">
            <a:spLocks/>
          </p:cNvSpPr>
          <p:nvPr/>
        </p:nvSpPr>
        <p:spPr>
          <a:xfrm>
            <a:off x="4650143" y="4951462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endParaRPr lang="nb-NO" sz="1400" b="1">
              <a:solidFill>
                <a:schemeClr val="bg1"/>
              </a:solidFill>
            </a:endParaRP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BCB2B678-1669-41E5-863D-C4064DCEC6AE}"/>
              </a:ext>
            </a:extLst>
          </p:cNvPr>
          <p:cNvCxnSpPr>
            <a:cxnSpLocks/>
            <a:stCxn id="57" idx="0"/>
            <a:endCxn id="8" idx="2"/>
          </p:cNvCxnSpPr>
          <p:nvPr/>
        </p:nvCxnSpPr>
        <p:spPr>
          <a:xfrm rot="5400000" flipH="1" flipV="1">
            <a:off x="5169769" y="4055039"/>
            <a:ext cx="1084823" cy="708025"/>
          </a:xfrm>
          <a:prstGeom prst="bentConnector3">
            <a:avLst>
              <a:gd name="adj1" fmla="val 76516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60">
            <a:extLst>
              <a:ext uri="{FF2B5EF4-FFF2-40B4-BE49-F238E27FC236}">
                <a16:creationId xmlns:a16="http://schemas.microsoft.com/office/drawing/2014/main" id="{29E98AFD-E0FD-41B2-A4BA-844161EFC911}"/>
              </a:ext>
            </a:extLst>
          </p:cNvPr>
          <p:cNvCxnSpPr>
            <a:cxnSpLocks/>
            <a:stCxn id="56" idx="0"/>
            <a:endCxn id="8" idx="2"/>
          </p:cNvCxnSpPr>
          <p:nvPr/>
        </p:nvCxnSpPr>
        <p:spPr>
          <a:xfrm rot="16200000" flipV="1">
            <a:off x="5882731" y="4050102"/>
            <a:ext cx="1084823" cy="717897"/>
          </a:xfrm>
          <a:prstGeom prst="bentConnector3">
            <a:avLst>
              <a:gd name="adj1" fmla="val 76516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3F87448-2321-48B0-9E46-958B137034B8}"/>
              </a:ext>
            </a:extLst>
          </p:cNvPr>
          <p:cNvSpPr/>
          <p:nvPr/>
        </p:nvSpPr>
        <p:spPr>
          <a:xfrm>
            <a:off x="6134458" y="4200014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C3FF544-4F9D-4903-8DC8-D98F513610FA}"/>
              </a:ext>
            </a:extLst>
          </p:cNvPr>
          <p:cNvSpPr/>
          <p:nvPr/>
        </p:nvSpPr>
        <p:spPr>
          <a:xfrm>
            <a:off x="4703774" y="4200014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85" name="Rectangle 9">
            <a:extLst>
              <a:ext uri="{FF2B5EF4-FFF2-40B4-BE49-F238E27FC236}">
                <a16:creationId xmlns:a16="http://schemas.microsoft.com/office/drawing/2014/main" id="{A43C8EBF-3A55-48D5-B687-AD944C1ECBCB}"/>
              </a:ext>
            </a:extLst>
          </p:cNvPr>
          <p:cNvSpPr txBox="1">
            <a:spLocks/>
          </p:cNvSpPr>
          <p:nvPr/>
        </p:nvSpPr>
        <p:spPr>
          <a:xfrm>
            <a:off x="9790711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A7F80D91-DB7A-4DD0-B8C6-F91F2CEB9310}"/>
              </a:ext>
            </a:extLst>
          </p:cNvPr>
          <p:cNvCxnSpPr>
            <a:cxnSpLocks/>
            <a:stCxn id="9" idx="0"/>
            <a:endCxn id="5" idx="2"/>
          </p:cNvCxnSpPr>
          <p:nvPr/>
        </p:nvCxnSpPr>
        <p:spPr>
          <a:xfrm rot="16200000" flipV="1">
            <a:off x="6492526" y="1069261"/>
            <a:ext cx="1501363" cy="2294414"/>
          </a:xfrm>
          <a:prstGeom prst="bentConnector3">
            <a:avLst>
              <a:gd name="adj1" fmla="val 82522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49F16030-5E13-43CF-AF68-413738317646}"/>
              </a:ext>
            </a:extLst>
          </p:cNvPr>
          <p:cNvSpPr/>
          <p:nvPr/>
        </p:nvSpPr>
        <p:spPr>
          <a:xfrm>
            <a:off x="7542687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121" name="Rectangle 9">
            <a:extLst>
              <a:ext uri="{FF2B5EF4-FFF2-40B4-BE49-F238E27FC236}">
                <a16:creationId xmlns:a16="http://schemas.microsoft.com/office/drawing/2014/main" id="{8F6F9575-4C4E-4301-ADE4-713B95026D16}"/>
              </a:ext>
            </a:extLst>
          </p:cNvPr>
          <p:cNvSpPr txBox="1">
            <a:spLocks/>
          </p:cNvSpPr>
          <p:nvPr/>
        </p:nvSpPr>
        <p:spPr>
          <a:xfrm>
            <a:off x="3031370" y="4951462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81964A24-211B-4E87-B664-061B9D4A6252}"/>
              </a:ext>
            </a:extLst>
          </p:cNvPr>
          <p:cNvCxnSpPr>
            <a:cxnSpLocks/>
            <a:stCxn id="121" idx="0"/>
            <a:endCxn id="7" idx="2"/>
          </p:cNvCxnSpPr>
          <p:nvPr/>
        </p:nvCxnSpPr>
        <p:spPr>
          <a:xfrm rot="5400000" flipH="1" flipV="1">
            <a:off x="3198272" y="4407763"/>
            <a:ext cx="1084823" cy="2577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3791A910-75D4-4B87-AA97-03E45ACE442F}"/>
              </a:ext>
            </a:extLst>
          </p:cNvPr>
          <p:cNvSpPr/>
          <p:nvPr/>
        </p:nvSpPr>
        <p:spPr>
          <a:xfrm>
            <a:off x="3089763" y="4200014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129" name="Rectangle 9">
            <a:extLst>
              <a:ext uri="{FF2B5EF4-FFF2-40B4-BE49-F238E27FC236}">
                <a16:creationId xmlns:a16="http://schemas.microsoft.com/office/drawing/2014/main" id="{9CE8EB85-EB44-4338-AEF4-6BE84F8FA357}"/>
              </a:ext>
            </a:extLst>
          </p:cNvPr>
          <p:cNvSpPr txBox="1">
            <a:spLocks/>
          </p:cNvSpPr>
          <p:nvPr/>
        </p:nvSpPr>
        <p:spPr>
          <a:xfrm>
            <a:off x="2755900" y="32511"/>
            <a:ext cx="1847850" cy="569602"/>
          </a:xfrm>
          <a:prstGeom prst="rect">
            <a:avLst/>
          </a:prstGeom>
          <a:solidFill>
            <a:srgbClr val="758AA7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400" b="1">
                <a:solidFill>
                  <a:schemeClr val="bg1"/>
                </a:solidFill>
              </a:rPr>
              <a:t>SLUTTKONSUMENT</a:t>
            </a:r>
          </a:p>
        </p:txBody>
      </p:sp>
      <p:sp>
        <p:nvSpPr>
          <p:cNvPr id="130" name="Rectangle 9">
            <a:extLst>
              <a:ext uri="{FF2B5EF4-FFF2-40B4-BE49-F238E27FC236}">
                <a16:creationId xmlns:a16="http://schemas.microsoft.com/office/drawing/2014/main" id="{BF44DCD6-EBB2-4926-8B1F-2967D515E17C}"/>
              </a:ext>
            </a:extLst>
          </p:cNvPr>
          <p:cNvSpPr txBox="1">
            <a:spLocks/>
          </p:cNvSpPr>
          <p:nvPr/>
        </p:nvSpPr>
        <p:spPr>
          <a:xfrm>
            <a:off x="5178774" y="32511"/>
            <a:ext cx="1847850" cy="569602"/>
          </a:xfrm>
          <a:prstGeom prst="rect">
            <a:avLst/>
          </a:prstGeom>
          <a:solidFill>
            <a:srgbClr val="758AA7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400" b="1">
                <a:solidFill>
                  <a:schemeClr val="bg1"/>
                </a:solidFill>
              </a:rPr>
              <a:t>SLUTTKONSUMENT</a:t>
            </a:r>
          </a:p>
        </p:txBody>
      </p:sp>
      <p:sp>
        <p:nvSpPr>
          <p:cNvPr id="131" name="Rectangle 9">
            <a:extLst>
              <a:ext uri="{FF2B5EF4-FFF2-40B4-BE49-F238E27FC236}">
                <a16:creationId xmlns:a16="http://schemas.microsoft.com/office/drawing/2014/main" id="{45586748-B213-48EA-8B26-A005B9DCA0DD}"/>
              </a:ext>
            </a:extLst>
          </p:cNvPr>
          <p:cNvSpPr txBox="1">
            <a:spLocks/>
          </p:cNvSpPr>
          <p:nvPr/>
        </p:nvSpPr>
        <p:spPr>
          <a:xfrm>
            <a:off x="7572724" y="32511"/>
            <a:ext cx="1847850" cy="569602"/>
          </a:xfrm>
          <a:prstGeom prst="rect">
            <a:avLst/>
          </a:prstGeom>
          <a:solidFill>
            <a:srgbClr val="758AA7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400" b="1">
                <a:solidFill>
                  <a:schemeClr val="bg1"/>
                </a:solidFill>
              </a:rPr>
              <a:t>SLUTTKONSUMENT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C5468F35-21DD-4607-A184-8705B6AFF2B5}"/>
              </a:ext>
            </a:extLst>
          </p:cNvPr>
          <p:cNvCxnSpPr>
            <a:cxnSpLocks/>
            <a:stCxn id="5" idx="0"/>
            <a:endCxn id="131" idx="2"/>
          </p:cNvCxnSpPr>
          <p:nvPr/>
        </p:nvCxnSpPr>
        <p:spPr>
          <a:xfrm rot="5400000" flipH="1" flipV="1">
            <a:off x="7116278" y="-418164"/>
            <a:ext cx="360093" cy="2400649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C520C2CC-42F2-436D-9645-C778BF2EC968}"/>
              </a:ext>
            </a:extLst>
          </p:cNvPr>
          <p:cNvCxnSpPr>
            <a:cxnSpLocks/>
            <a:stCxn id="5" idx="0"/>
            <a:endCxn id="130" idx="2"/>
          </p:cNvCxnSpPr>
          <p:nvPr/>
        </p:nvCxnSpPr>
        <p:spPr>
          <a:xfrm rot="5400000" flipH="1" flipV="1">
            <a:off x="5919303" y="778811"/>
            <a:ext cx="360093" cy="6699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BDBDAB09-69E2-4108-A038-D4075CAFEF56}"/>
              </a:ext>
            </a:extLst>
          </p:cNvPr>
          <p:cNvCxnSpPr>
            <a:cxnSpLocks/>
            <a:stCxn id="5" idx="0"/>
            <a:endCxn id="129" idx="2"/>
          </p:cNvCxnSpPr>
          <p:nvPr/>
        </p:nvCxnSpPr>
        <p:spPr>
          <a:xfrm rot="16200000" flipV="1">
            <a:off x="4707867" y="-425928"/>
            <a:ext cx="360093" cy="241617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9">
            <a:extLst>
              <a:ext uri="{FF2B5EF4-FFF2-40B4-BE49-F238E27FC236}">
                <a16:creationId xmlns:a16="http://schemas.microsoft.com/office/drawing/2014/main" id="{17904EBC-3084-4FA7-81CA-74BD1EE5BA39}"/>
              </a:ext>
            </a:extLst>
          </p:cNvPr>
          <p:cNvSpPr txBox="1">
            <a:spLocks/>
          </p:cNvSpPr>
          <p:nvPr/>
        </p:nvSpPr>
        <p:spPr>
          <a:xfrm>
            <a:off x="6771650" y="6383917"/>
            <a:ext cx="1580400" cy="424800"/>
          </a:xfrm>
          <a:prstGeom prst="rect">
            <a:avLst/>
          </a:prstGeom>
          <a:solidFill>
            <a:srgbClr val="0E5A70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spcBef>
                <a:spcPts val="0"/>
              </a:spcBef>
              <a:buFontTx/>
              <a:buNone/>
            </a:pPr>
            <a:r>
              <a:rPr lang="nb-NO" sz="1200" b="1">
                <a:solidFill>
                  <a:schemeClr val="bg1"/>
                </a:solidFill>
              </a:rPr>
              <a:t>VIRKSOMHET / </a:t>
            </a:r>
            <a:br>
              <a:rPr lang="nb-NO" sz="1200" b="1">
                <a:solidFill>
                  <a:schemeClr val="bg1"/>
                </a:solidFill>
              </a:rPr>
            </a:br>
            <a:r>
              <a:rPr lang="nb-NO" sz="1200" b="1">
                <a:solidFill>
                  <a:schemeClr val="bg1"/>
                </a:solidFill>
              </a:rPr>
              <a:t>SYSTE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1C79AB-54C9-4E2D-9BF6-3684ED283C69}"/>
              </a:ext>
            </a:extLst>
          </p:cNvPr>
          <p:cNvSpPr/>
          <p:nvPr/>
        </p:nvSpPr>
        <p:spPr>
          <a:xfrm>
            <a:off x="5093401" y="6383917"/>
            <a:ext cx="1580400" cy="424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chemeClr val="tx1"/>
                </a:solidFill>
              </a:rPr>
              <a:t>DATAOBJEKT</a:t>
            </a:r>
            <a:endParaRPr lang="nb-NO" sz="1200">
              <a:solidFill>
                <a:schemeClr val="tx1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4312A12-C00B-4B67-94BD-5A594BCA9BBC}"/>
              </a:ext>
            </a:extLst>
          </p:cNvPr>
          <p:cNvGrpSpPr/>
          <p:nvPr/>
        </p:nvGrpSpPr>
        <p:grpSpPr>
          <a:xfrm>
            <a:off x="57856" y="6383917"/>
            <a:ext cx="1580800" cy="423155"/>
            <a:chOff x="4171950" y="6093112"/>
            <a:chExt cx="1907170" cy="643151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78A033-F961-4AB6-B809-05F50B7788F4}"/>
                </a:ext>
              </a:extLst>
            </p:cNvPr>
            <p:cNvSpPr/>
            <p:nvPr/>
          </p:nvSpPr>
          <p:spPr>
            <a:xfrm>
              <a:off x="4171950" y="6093112"/>
              <a:ext cx="1907170" cy="6431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C29A8967-2166-4FA3-90F0-68D8C1C4CDFC}"/>
                </a:ext>
              </a:extLst>
            </p:cNvPr>
            <p:cNvCxnSpPr>
              <a:cxnSpLocks/>
            </p:cNvCxnSpPr>
            <p:nvPr/>
          </p:nvCxnSpPr>
          <p:spPr>
            <a:xfrm>
              <a:off x="4273549" y="6520082"/>
              <a:ext cx="565151" cy="0"/>
            </a:xfrm>
            <a:prstGeom prst="straightConnector1">
              <a:avLst/>
            </a:prstGeom>
            <a:ln w="38100">
              <a:solidFill>
                <a:srgbClr val="E2606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DA94D4B8-5872-4F46-B46A-3DDBCCDFAFF9}"/>
                </a:ext>
              </a:extLst>
            </p:cNvPr>
            <p:cNvCxnSpPr>
              <a:cxnSpLocks/>
            </p:cNvCxnSpPr>
            <p:nvPr/>
          </p:nvCxnSpPr>
          <p:spPr>
            <a:xfrm>
              <a:off x="4273549" y="6281957"/>
              <a:ext cx="565151" cy="0"/>
            </a:xfrm>
            <a:prstGeom prst="straightConnector1">
              <a:avLst/>
            </a:prstGeom>
            <a:ln w="38100">
              <a:solidFill>
                <a:srgbClr val="ADB9C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149322C-7194-49C5-803F-109965250FFA}"/>
                </a:ext>
              </a:extLst>
            </p:cNvPr>
            <p:cNvSpPr txBox="1"/>
            <p:nvPr/>
          </p:nvSpPr>
          <p:spPr>
            <a:xfrm>
              <a:off x="4786895" y="6142501"/>
              <a:ext cx="1292225" cy="27891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nb-NO" sz="800"/>
                <a:t>Fungerende dataflyt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57A1721-1F7C-47A1-A72C-687D14F88ED4}"/>
                </a:ext>
              </a:extLst>
            </p:cNvPr>
            <p:cNvSpPr txBox="1"/>
            <p:nvPr/>
          </p:nvSpPr>
          <p:spPr>
            <a:xfrm>
              <a:off x="4786895" y="6387659"/>
              <a:ext cx="1292225" cy="27891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nb-NO" sz="800"/>
                <a:t>Problematisk dataflyt</a:t>
              </a:r>
            </a:p>
          </p:txBody>
        </p:sp>
      </p:grpSp>
      <p:sp>
        <p:nvSpPr>
          <p:cNvPr id="142" name="Rectangle 9">
            <a:extLst>
              <a:ext uri="{FF2B5EF4-FFF2-40B4-BE49-F238E27FC236}">
                <a16:creationId xmlns:a16="http://schemas.microsoft.com/office/drawing/2014/main" id="{FB1AC3F8-43C6-4BEF-B391-21A49E0D61E9}"/>
              </a:ext>
            </a:extLst>
          </p:cNvPr>
          <p:cNvSpPr txBox="1">
            <a:spLocks/>
          </p:cNvSpPr>
          <p:nvPr/>
        </p:nvSpPr>
        <p:spPr>
          <a:xfrm>
            <a:off x="1736504" y="6385562"/>
            <a:ext cx="1580800" cy="423155"/>
          </a:xfrm>
          <a:prstGeom prst="rect">
            <a:avLst/>
          </a:prstGeom>
          <a:solidFill>
            <a:srgbClr val="758AA7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200" b="1">
                <a:solidFill>
                  <a:schemeClr val="bg1"/>
                </a:solidFill>
              </a:rPr>
              <a:t>SLUTTKONSUMENT</a:t>
            </a:r>
          </a:p>
        </p:txBody>
      </p:sp>
      <p:sp>
        <p:nvSpPr>
          <p:cNvPr id="161" name="Rectangle 9">
            <a:extLst>
              <a:ext uri="{FF2B5EF4-FFF2-40B4-BE49-F238E27FC236}">
                <a16:creationId xmlns:a16="http://schemas.microsoft.com/office/drawing/2014/main" id="{61FD2C17-25A3-46E3-9DF6-1D4105CE8348}"/>
              </a:ext>
            </a:extLst>
          </p:cNvPr>
          <p:cNvSpPr txBox="1">
            <a:spLocks/>
          </p:cNvSpPr>
          <p:nvPr/>
        </p:nvSpPr>
        <p:spPr>
          <a:xfrm>
            <a:off x="1422173" y="4951462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sp>
        <p:nvSpPr>
          <p:cNvPr id="162" name="Rectangle 9">
            <a:extLst>
              <a:ext uri="{FF2B5EF4-FFF2-40B4-BE49-F238E27FC236}">
                <a16:creationId xmlns:a16="http://schemas.microsoft.com/office/drawing/2014/main" id="{A11DBF3B-E97C-45B1-8052-BF444D16DE4C}"/>
              </a:ext>
            </a:extLst>
          </p:cNvPr>
          <p:cNvSpPr txBox="1">
            <a:spLocks/>
          </p:cNvSpPr>
          <p:nvPr/>
        </p:nvSpPr>
        <p:spPr>
          <a:xfrm>
            <a:off x="-3749" y="4951462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cxnSp>
        <p:nvCxnSpPr>
          <p:cNvPr id="165" name="Connector: Elbow 164">
            <a:extLst>
              <a:ext uri="{FF2B5EF4-FFF2-40B4-BE49-F238E27FC236}">
                <a16:creationId xmlns:a16="http://schemas.microsoft.com/office/drawing/2014/main" id="{76C76BF9-BA87-40C3-B7EE-6A5151BC6E20}"/>
              </a:ext>
            </a:extLst>
          </p:cNvPr>
          <p:cNvCxnSpPr>
            <a:cxnSpLocks/>
            <a:stCxn id="162" idx="0"/>
            <a:endCxn id="6" idx="2"/>
          </p:cNvCxnSpPr>
          <p:nvPr/>
        </p:nvCxnSpPr>
        <p:spPr>
          <a:xfrm rot="5400000" flipH="1" flipV="1">
            <a:off x="518602" y="4052314"/>
            <a:ext cx="1084823" cy="713475"/>
          </a:xfrm>
          <a:prstGeom prst="bentConnector3">
            <a:avLst>
              <a:gd name="adj1" fmla="val 7704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52087418-6F09-4962-80AE-48B01EB612E6}"/>
              </a:ext>
            </a:extLst>
          </p:cNvPr>
          <p:cNvCxnSpPr>
            <a:cxnSpLocks/>
            <a:stCxn id="161" idx="0"/>
            <a:endCxn id="6" idx="2"/>
          </p:cNvCxnSpPr>
          <p:nvPr/>
        </p:nvCxnSpPr>
        <p:spPr>
          <a:xfrm rot="16200000" flipV="1">
            <a:off x="1231564" y="4052827"/>
            <a:ext cx="1084823" cy="712447"/>
          </a:xfrm>
          <a:prstGeom prst="bentConnector3">
            <a:avLst>
              <a:gd name="adj1" fmla="val 7693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>
            <a:extLst>
              <a:ext uri="{FF2B5EF4-FFF2-40B4-BE49-F238E27FC236}">
                <a16:creationId xmlns:a16="http://schemas.microsoft.com/office/drawing/2014/main" id="{4322CE22-C845-4BFF-AB8B-2E2311AE4E9A}"/>
              </a:ext>
            </a:extLst>
          </p:cNvPr>
          <p:cNvSpPr/>
          <p:nvPr/>
        </p:nvSpPr>
        <p:spPr>
          <a:xfrm>
            <a:off x="1480566" y="4200014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07B9056C-75C1-482C-B66D-8ED8355BD0D9}"/>
              </a:ext>
            </a:extLst>
          </p:cNvPr>
          <p:cNvSpPr/>
          <p:nvPr/>
        </p:nvSpPr>
        <p:spPr>
          <a:xfrm>
            <a:off x="49882" y="4200014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DATATYPE SOM OVERFØRES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Detaljer om dataen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7E200FA7-86DA-4945-B759-7CDE287E4017}"/>
              </a:ext>
            </a:extLst>
          </p:cNvPr>
          <p:cNvSpPr/>
          <p:nvPr/>
        </p:nvSpPr>
        <p:spPr>
          <a:xfrm>
            <a:off x="8449899" y="5850952"/>
            <a:ext cx="3600032" cy="9561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1400" b="1">
                <a:solidFill>
                  <a:schemeClr val="tx1"/>
                </a:solidFill>
              </a:rPr>
              <a:t>Utfordringer</a:t>
            </a:r>
            <a:endParaRPr lang="nb-NO" sz="1100" baseline="30000">
              <a:solidFill>
                <a:schemeClr val="tx1"/>
              </a:solidFill>
            </a:endParaRPr>
          </a:p>
          <a:p>
            <a:r>
              <a:rPr lang="nb-NO" sz="1100" baseline="30000">
                <a:solidFill>
                  <a:schemeClr val="tx1"/>
                </a:solidFill>
              </a:rPr>
              <a:t>1</a:t>
            </a:r>
            <a:r>
              <a:rPr lang="nb-NO" sz="1100">
                <a:solidFill>
                  <a:schemeClr val="tx1"/>
                </a:solidFill>
              </a:rPr>
              <a:t> …</a:t>
            </a:r>
          </a:p>
        </p:txBody>
      </p:sp>
      <p:sp>
        <p:nvSpPr>
          <p:cNvPr id="51" name="Rectangle 9">
            <a:extLst>
              <a:ext uri="{FF2B5EF4-FFF2-40B4-BE49-F238E27FC236}">
                <a16:creationId xmlns:a16="http://schemas.microsoft.com/office/drawing/2014/main" id="{D2406D43-27C5-4C99-B809-B1771483B8CA}"/>
              </a:ext>
            </a:extLst>
          </p:cNvPr>
          <p:cNvSpPr txBox="1">
            <a:spLocks/>
          </p:cNvSpPr>
          <p:nvPr/>
        </p:nvSpPr>
        <p:spPr>
          <a:xfrm>
            <a:off x="3415153" y="6383917"/>
            <a:ext cx="1580400" cy="424800"/>
          </a:xfrm>
          <a:prstGeom prst="rect">
            <a:avLst/>
          </a:prstGeom>
          <a:solidFill>
            <a:srgbClr val="EA8A8A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spcBef>
                <a:spcPts val="0"/>
              </a:spcBef>
              <a:buFontTx/>
              <a:buNone/>
            </a:pPr>
            <a:r>
              <a:rPr lang="nb-NO" sz="1200" b="1">
                <a:solidFill>
                  <a:schemeClr val="bg1"/>
                </a:solidFill>
              </a:rPr>
              <a:t>FORMÅL</a:t>
            </a:r>
          </a:p>
        </p:txBody>
      </p:sp>
      <p:sp>
        <p:nvSpPr>
          <p:cNvPr id="77" name="Rectangle 9">
            <a:extLst>
              <a:ext uri="{FF2B5EF4-FFF2-40B4-BE49-F238E27FC236}">
                <a16:creationId xmlns:a16="http://schemas.microsoft.com/office/drawing/2014/main" id="{A6D3191C-62F5-47D4-A7B8-4ED62AD717BA}"/>
              </a:ext>
            </a:extLst>
          </p:cNvPr>
          <p:cNvSpPr txBox="1">
            <a:spLocks/>
          </p:cNvSpPr>
          <p:nvPr/>
        </p:nvSpPr>
        <p:spPr>
          <a:xfrm>
            <a:off x="4650142" y="4951462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VIRKSOMHET / SYSTEM</a:t>
            </a:r>
          </a:p>
        </p:txBody>
      </p:sp>
      <p:sp>
        <p:nvSpPr>
          <p:cNvPr id="52" name="Diagonal Stripe 1">
            <a:extLst>
              <a:ext uri="{FF2B5EF4-FFF2-40B4-BE49-F238E27FC236}">
                <a16:creationId xmlns:a16="http://schemas.microsoft.com/office/drawing/2014/main" id="{2F6FBF85-E4FC-E74E-ADB4-F22D86C7FFEB}"/>
              </a:ext>
            </a:extLst>
          </p:cNvPr>
          <p:cNvSpPr/>
          <p:nvPr/>
        </p:nvSpPr>
        <p:spPr>
          <a:xfrm>
            <a:off x="0" y="0"/>
            <a:ext cx="2043746" cy="2043746"/>
          </a:xfrm>
          <a:prstGeom prst="diagStrip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0DD739A-0006-424F-BA89-AFD39FE6918D}"/>
              </a:ext>
            </a:extLst>
          </p:cNvPr>
          <p:cNvSpPr txBox="1"/>
          <p:nvPr/>
        </p:nvSpPr>
        <p:spPr>
          <a:xfrm rot="18902544">
            <a:off x="-189468" y="564987"/>
            <a:ext cx="19156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Mal</a:t>
            </a:r>
          </a:p>
        </p:txBody>
      </p:sp>
    </p:spTree>
    <p:extLst>
      <p:ext uri="{BB962C8B-B14F-4D97-AF65-F5344CB8AC3E}">
        <p14:creationId xmlns:p14="http://schemas.microsoft.com/office/powerpoint/2010/main" val="31838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27D9E5C-59CB-4DC6-9E5A-C0F363E9D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nhold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FC8B1A4-DECC-4D13-9969-1C7E0C4037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Bakgrunn, historikk og drivere for KUDAF</a:t>
            </a:r>
          </a:p>
          <a:p>
            <a:r>
              <a:rPr lang="nb-NO"/>
              <a:t>Orden i eget hus viktig premiss</a:t>
            </a:r>
          </a:p>
          <a:p>
            <a:r>
              <a:rPr lang="nb-NO"/>
              <a:t>KUDAF som en «markedsplass» for data</a:t>
            </a:r>
          </a:p>
          <a:p>
            <a:r>
              <a:rPr lang="nb-NO"/>
              <a:t>Analyse av behov og gevinster gjennom verdikjedeanalyser</a:t>
            </a:r>
          </a:p>
          <a:p>
            <a:r>
              <a:rPr lang="nb-NO"/>
              <a:t>Utfordringer for digital samhandling</a:t>
            </a:r>
          </a:p>
          <a:p>
            <a:r>
              <a:rPr lang="nb-NO"/>
              <a:t>Kompetansebygging mot en datadrevet sektor og -samfunn</a:t>
            </a:r>
          </a:p>
          <a:p>
            <a:r>
              <a:rPr lang="nb-NO"/>
              <a:t>Felles løsninger for felles problemstillinger</a:t>
            </a:r>
          </a:p>
          <a:p>
            <a:endParaRPr lang="nb-NO"/>
          </a:p>
          <a:p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74D51D6E-1FB1-4349-9680-699107AA6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F69DA7B7-BE77-43F6-A694-E9163CFB2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69379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2D8DAD-4556-4874-A224-29B6ABE3F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2D8DAD-4556-4874-A224-29B6ABE3F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90CDD93F-B568-449A-84A7-2A4B0CCAE54B}"/>
              </a:ext>
            </a:extLst>
          </p:cNvPr>
          <p:cNvCxnSpPr>
            <a:cxnSpLocks/>
            <a:stCxn id="53" idx="0"/>
            <a:endCxn id="5" idx="2"/>
          </p:cNvCxnSpPr>
          <p:nvPr/>
        </p:nvCxnSpPr>
        <p:spPr>
          <a:xfrm rot="16200000" flipV="1">
            <a:off x="6492527" y="1069260"/>
            <a:ext cx="1501363" cy="2294415"/>
          </a:xfrm>
          <a:prstGeom prst="bentConnector3">
            <a:avLst>
              <a:gd name="adj1" fmla="val 82408"/>
            </a:avLst>
          </a:prstGeom>
          <a:ln w="38100">
            <a:solidFill>
              <a:srgbClr val="E26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2A0DBE45-2A25-4194-AF1A-B3EE5F52635E}"/>
              </a:ext>
            </a:extLst>
          </p:cNvPr>
          <p:cNvCxnSpPr>
            <a:cxnSpLocks/>
          </p:cNvCxnSpPr>
          <p:nvPr/>
        </p:nvCxnSpPr>
        <p:spPr>
          <a:xfrm rot="16200000" flipV="1">
            <a:off x="7654637" y="-92850"/>
            <a:ext cx="1501363" cy="4618636"/>
          </a:xfrm>
          <a:prstGeom prst="bentConnector3">
            <a:avLst>
              <a:gd name="adj1" fmla="val 82522"/>
            </a:avLst>
          </a:prstGeom>
          <a:ln w="38100">
            <a:solidFill>
              <a:srgbClr val="E2606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9">
            <a:extLst>
              <a:ext uri="{FF2B5EF4-FFF2-40B4-BE49-F238E27FC236}">
                <a16:creationId xmlns:a16="http://schemas.microsoft.com/office/drawing/2014/main" id="{428CF4B4-BBD2-4B37-85CE-CA3DD183E02D}"/>
              </a:ext>
            </a:extLst>
          </p:cNvPr>
          <p:cNvSpPr txBox="1">
            <a:spLocks/>
          </p:cNvSpPr>
          <p:nvPr/>
        </p:nvSpPr>
        <p:spPr>
          <a:xfrm>
            <a:off x="3928941" y="962206"/>
            <a:ext cx="4334118" cy="503580"/>
          </a:xfrm>
          <a:prstGeom prst="rect">
            <a:avLst/>
          </a:prstGeom>
          <a:solidFill>
            <a:srgbClr val="EA8A8A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800" b="1" spc="300">
                <a:solidFill>
                  <a:schemeClr val="bg1"/>
                </a:solidFill>
              </a:rPr>
              <a:t>STATISTIKK OG ANALYSE</a:t>
            </a:r>
            <a:br>
              <a:rPr lang="nb-NO" sz="1800" b="1" spc="300">
                <a:solidFill>
                  <a:schemeClr val="bg1"/>
                </a:solidFill>
              </a:rPr>
            </a:br>
            <a:r>
              <a:rPr lang="nb-NO" sz="800" b="1">
                <a:solidFill>
                  <a:schemeClr val="bg1"/>
                </a:solidFill>
              </a:rPr>
              <a:t>(NAV KUNNSKAPSAVDELING)</a:t>
            </a:r>
            <a:endParaRPr lang="nb-NO" sz="1800" b="1">
              <a:solidFill>
                <a:schemeClr val="bg1"/>
              </a:solidFill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305F15C-010F-42C3-8996-EDEC6CD674BC}"/>
              </a:ext>
            </a:extLst>
          </p:cNvPr>
          <p:cNvSpPr txBox="1">
            <a:spLocks/>
          </p:cNvSpPr>
          <p:nvPr/>
        </p:nvSpPr>
        <p:spPr>
          <a:xfrm>
            <a:off x="493826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Aa-registeret</a:t>
            </a:r>
            <a:br>
              <a:rPr lang="nb-NO" sz="1400" b="1">
                <a:solidFill>
                  <a:schemeClr val="bg1"/>
                </a:solidFill>
              </a:rPr>
            </a:br>
            <a:r>
              <a:rPr lang="nb-NO" sz="1400" b="1">
                <a:solidFill>
                  <a:schemeClr val="bg1"/>
                </a:solidFill>
              </a:rPr>
              <a:t>(NAV)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A72B8394-B591-45F8-BC7B-FC43207D8F86}"/>
              </a:ext>
            </a:extLst>
          </p:cNvPr>
          <p:cNvSpPr txBox="1">
            <a:spLocks/>
          </p:cNvSpPr>
          <p:nvPr/>
        </p:nvSpPr>
        <p:spPr>
          <a:xfrm>
            <a:off x="2818047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Saksbehandler-systemer</a:t>
            </a:r>
            <a:br>
              <a:rPr lang="nb-NO" sz="1400" b="1">
                <a:solidFill>
                  <a:schemeClr val="bg1"/>
                </a:solidFill>
              </a:rPr>
            </a:br>
            <a:r>
              <a:rPr lang="nb-NO" sz="1400" b="1">
                <a:solidFill>
                  <a:schemeClr val="bg1"/>
                </a:solidFill>
              </a:rPr>
              <a:t>(NAV)</a:t>
            </a:r>
            <a:endParaRPr lang="nb-NO" sz="1400" b="1" baseline="30000">
              <a:solidFill>
                <a:schemeClr val="bg1"/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95DACBE9-11C2-497E-A7A2-C99ACF79BDDC}"/>
              </a:ext>
            </a:extLst>
          </p:cNvPr>
          <p:cNvSpPr txBox="1">
            <a:spLocks/>
          </p:cNvSpPr>
          <p:nvPr/>
        </p:nvSpPr>
        <p:spPr>
          <a:xfrm>
            <a:off x="5142268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NSD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7DDF376-8FC9-41F9-BD12-A6B4A466501D}"/>
              </a:ext>
            </a:extLst>
          </p:cNvPr>
          <p:cNvSpPr txBox="1">
            <a:spLocks/>
          </p:cNvSpPr>
          <p:nvPr/>
        </p:nvSpPr>
        <p:spPr>
          <a:xfrm>
            <a:off x="9790711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LÅNEKASSEN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641AE601-01D5-4235-88D1-17EED12FC6C5}"/>
              </a:ext>
            </a:extLst>
          </p:cNvPr>
          <p:cNvCxnSpPr>
            <a:cxnSpLocks/>
            <a:stCxn id="6" idx="0"/>
            <a:endCxn id="5" idx="2"/>
          </p:cNvCxnSpPr>
          <p:nvPr/>
        </p:nvCxnSpPr>
        <p:spPr>
          <a:xfrm rot="5400000" flipH="1" flipV="1">
            <a:off x="3006194" y="-122656"/>
            <a:ext cx="1501363" cy="4678249"/>
          </a:xfrm>
          <a:prstGeom prst="bentConnector3">
            <a:avLst>
              <a:gd name="adj1" fmla="val 83351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3C0E2B4B-8AC6-4E3A-A71B-CD5162CB6F24}"/>
              </a:ext>
            </a:extLst>
          </p:cNvPr>
          <p:cNvCxnSpPr>
            <a:cxnSpLocks/>
            <a:stCxn id="7" idx="0"/>
            <a:endCxn id="5" idx="2"/>
          </p:cNvCxnSpPr>
          <p:nvPr/>
        </p:nvCxnSpPr>
        <p:spPr>
          <a:xfrm rot="5400000" flipH="1" flipV="1">
            <a:off x="4168305" y="1039454"/>
            <a:ext cx="1501363" cy="2354028"/>
          </a:xfrm>
          <a:prstGeom prst="bentConnector3">
            <a:avLst>
              <a:gd name="adj1" fmla="val 83113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D06BBF21-1F64-4539-BDC6-9F5B150CBC74}"/>
              </a:ext>
            </a:extLst>
          </p:cNvPr>
          <p:cNvCxnSpPr>
            <a:cxnSpLocks/>
            <a:stCxn id="8" idx="0"/>
            <a:endCxn id="5" idx="2"/>
          </p:cNvCxnSpPr>
          <p:nvPr/>
        </p:nvCxnSpPr>
        <p:spPr>
          <a:xfrm rot="5400000" flipH="1" flipV="1">
            <a:off x="5330415" y="2201565"/>
            <a:ext cx="1501363" cy="29807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4815BEA-F788-4042-89F5-F014651536F7}"/>
              </a:ext>
            </a:extLst>
          </p:cNvPr>
          <p:cNvSpPr/>
          <p:nvPr/>
        </p:nvSpPr>
        <p:spPr>
          <a:xfrm>
            <a:off x="570024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OM ARBEIDSSITUASJON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F.nr. , arbeidsforhold, arbeidstid, yrke, virksomhe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7D6A351-26BF-4A44-88E6-7F0DCC72A8B7}"/>
              </a:ext>
            </a:extLst>
          </p:cNvPr>
          <p:cNvSpPr/>
          <p:nvPr/>
        </p:nvSpPr>
        <p:spPr>
          <a:xfrm>
            <a:off x="2894245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OM </a:t>
            </a:r>
            <a:br>
              <a:rPr lang="nb-NO" sz="900" b="1">
                <a:solidFill>
                  <a:schemeClr val="tx1"/>
                </a:solidFill>
              </a:rPr>
            </a:br>
            <a:r>
              <a:rPr lang="nb-NO" sz="900" b="1">
                <a:solidFill>
                  <a:schemeClr val="tx1"/>
                </a:solidFill>
              </a:rPr>
              <a:t>MOTTATTE TILTAK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F.nr., type tiltak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0BBEB5-E853-476A-8E64-52F1BC57510A}"/>
              </a:ext>
            </a:extLst>
          </p:cNvPr>
          <p:cNvSpPr/>
          <p:nvPr/>
        </p:nvSpPr>
        <p:spPr>
          <a:xfrm>
            <a:off x="5218466" y="1867861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OM STUDENTER (UH / FAGSKOLER I NORGE)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F.nr., høyeste og pågående utdanning (nivå og type)</a:t>
            </a:r>
          </a:p>
        </p:txBody>
      </p:sp>
      <p:sp>
        <p:nvSpPr>
          <p:cNvPr id="121" name="Rectangle 9">
            <a:extLst>
              <a:ext uri="{FF2B5EF4-FFF2-40B4-BE49-F238E27FC236}">
                <a16:creationId xmlns:a16="http://schemas.microsoft.com/office/drawing/2014/main" id="{8F6F9575-4C4E-4301-ADE4-713B95026D16}"/>
              </a:ext>
            </a:extLst>
          </p:cNvPr>
          <p:cNvSpPr txBox="1">
            <a:spLocks/>
          </p:cNvSpPr>
          <p:nvPr/>
        </p:nvSpPr>
        <p:spPr>
          <a:xfrm>
            <a:off x="10006612" y="4789856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200" b="1">
                <a:solidFill>
                  <a:schemeClr val="bg1"/>
                </a:solidFill>
              </a:rPr>
              <a:t>Manuell registrering (student)</a:t>
            </a:r>
          </a:p>
        </p:txBody>
      </p: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81964A24-211B-4E87-B664-061B9D4A6252}"/>
              </a:ext>
            </a:extLst>
          </p:cNvPr>
          <p:cNvCxnSpPr>
            <a:cxnSpLocks/>
            <a:stCxn id="121" idx="0"/>
            <a:endCxn id="9" idx="2"/>
          </p:cNvCxnSpPr>
          <p:nvPr/>
        </p:nvCxnSpPr>
        <p:spPr>
          <a:xfrm rot="16200000" flipV="1">
            <a:off x="10253029" y="4328247"/>
            <a:ext cx="923217" cy="1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3791A910-75D4-4B87-AA97-03E45ACE442F}"/>
              </a:ext>
            </a:extLst>
          </p:cNvPr>
          <p:cNvSpPr/>
          <p:nvPr/>
        </p:nvSpPr>
        <p:spPr>
          <a:xfrm>
            <a:off x="10065005" y="4063575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SØKNAD OM LÅN &amp; STIPEND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Navn, personnummer, skole, </a:t>
            </a:r>
            <a:r>
              <a:rPr lang="nb-NO" sz="900" err="1">
                <a:solidFill>
                  <a:schemeClr val="tx1"/>
                </a:solidFill>
              </a:rPr>
              <a:t>studieland</a:t>
            </a:r>
            <a:r>
              <a:rPr lang="nb-NO" sz="900">
                <a:solidFill>
                  <a:schemeClr val="tx1"/>
                </a:solidFill>
              </a:rPr>
              <a:t>, studieretning, …</a:t>
            </a:r>
          </a:p>
        </p:txBody>
      </p:sp>
      <p:sp>
        <p:nvSpPr>
          <p:cNvPr id="129" name="Rectangle 9">
            <a:extLst>
              <a:ext uri="{FF2B5EF4-FFF2-40B4-BE49-F238E27FC236}">
                <a16:creationId xmlns:a16="http://schemas.microsoft.com/office/drawing/2014/main" id="{9CE8EB85-EB44-4338-AEF4-6BE84F8FA357}"/>
              </a:ext>
            </a:extLst>
          </p:cNvPr>
          <p:cNvSpPr txBox="1">
            <a:spLocks/>
          </p:cNvSpPr>
          <p:nvPr/>
        </p:nvSpPr>
        <p:spPr>
          <a:xfrm>
            <a:off x="2755900" y="32511"/>
            <a:ext cx="1847850" cy="569602"/>
          </a:xfrm>
          <a:prstGeom prst="rect">
            <a:avLst/>
          </a:prstGeom>
          <a:solidFill>
            <a:srgbClr val="758AA7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400" b="1">
                <a:solidFill>
                  <a:schemeClr val="bg1"/>
                </a:solidFill>
              </a:rPr>
              <a:t>Offentlighet og media</a:t>
            </a:r>
          </a:p>
        </p:txBody>
      </p:sp>
      <p:sp>
        <p:nvSpPr>
          <p:cNvPr id="130" name="Rectangle 9">
            <a:extLst>
              <a:ext uri="{FF2B5EF4-FFF2-40B4-BE49-F238E27FC236}">
                <a16:creationId xmlns:a16="http://schemas.microsoft.com/office/drawing/2014/main" id="{BF44DCD6-EBB2-4926-8B1F-2967D515E17C}"/>
              </a:ext>
            </a:extLst>
          </p:cNvPr>
          <p:cNvSpPr txBox="1">
            <a:spLocks/>
          </p:cNvSpPr>
          <p:nvPr/>
        </p:nvSpPr>
        <p:spPr>
          <a:xfrm>
            <a:off x="5178774" y="32511"/>
            <a:ext cx="1847850" cy="569602"/>
          </a:xfrm>
          <a:prstGeom prst="rect">
            <a:avLst/>
          </a:prstGeom>
          <a:solidFill>
            <a:srgbClr val="758AA7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400" b="1">
                <a:solidFill>
                  <a:schemeClr val="bg1"/>
                </a:solidFill>
              </a:rPr>
              <a:t>Departementer, storting, m.fl. </a:t>
            </a:r>
          </a:p>
        </p:txBody>
      </p:sp>
      <p:sp>
        <p:nvSpPr>
          <p:cNvPr id="131" name="Rectangle 9">
            <a:extLst>
              <a:ext uri="{FF2B5EF4-FFF2-40B4-BE49-F238E27FC236}">
                <a16:creationId xmlns:a16="http://schemas.microsoft.com/office/drawing/2014/main" id="{45586748-B213-48EA-8B26-A005B9DCA0DD}"/>
              </a:ext>
            </a:extLst>
          </p:cNvPr>
          <p:cNvSpPr txBox="1">
            <a:spLocks/>
          </p:cNvSpPr>
          <p:nvPr/>
        </p:nvSpPr>
        <p:spPr>
          <a:xfrm>
            <a:off x="7572724" y="32511"/>
            <a:ext cx="1847850" cy="569602"/>
          </a:xfrm>
          <a:prstGeom prst="rect">
            <a:avLst/>
          </a:prstGeom>
          <a:solidFill>
            <a:srgbClr val="758AA7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400" b="1">
                <a:solidFill>
                  <a:schemeClr val="bg1"/>
                </a:solidFill>
              </a:rPr>
              <a:t>Ansatte og ledere i NAV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C5468F35-21DD-4607-A184-8705B6AFF2B5}"/>
              </a:ext>
            </a:extLst>
          </p:cNvPr>
          <p:cNvCxnSpPr>
            <a:cxnSpLocks/>
            <a:stCxn id="5" idx="0"/>
            <a:endCxn id="131" idx="2"/>
          </p:cNvCxnSpPr>
          <p:nvPr/>
        </p:nvCxnSpPr>
        <p:spPr>
          <a:xfrm rot="5400000" flipH="1" flipV="1">
            <a:off x="7116278" y="-418164"/>
            <a:ext cx="360093" cy="2400649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C520C2CC-42F2-436D-9645-C778BF2EC968}"/>
              </a:ext>
            </a:extLst>
          </p:cNvPr>
          <p:cNvCxnSpPr>
            <a:cxnSpLocks/>
            <a:stCxn id="5" idx="0"/>
            <a:endCxn id="130" idx="2"/>
          </p:cNvCxnSpPr>
          <p:nvPr/>
        </p:nvCxnSpPr>
        <p:spPr>
          <a:xfrm rot="5400000" flipH="1" flipV="1">
            <a:off x="5919303" y="778811"/>
            <a:ext cx="360093" cy="6699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or: Elbow 137">
            <a:extLst>
              <a:ext uri="{FF2B5EF4-FFF2-40B4-BE49-F238E27FC236}">
                <a16:creationId xmlns:a16="http://schemas.microsoft.com/office/drawing/2014/main" id="{BDBDAB09-69E2-4108-A038-D4075CAFEF56}"/>
              </a:ext>
            </a:extLst>
          </p:cNvPr>
          <p:cNvCxnSpPr>
            <a:cxnSpLocks/>
            <a:stCxn id="5" idx="0"/>
            <a:endCxn id="129" idx="2"/>
          </p:cNvCxnSpPr>
          <p:nvPr/>
        </p:nvCxnSpPr>
        <p:spPr>
          <a:xfrm rot="16200000" flipV="1">
            <a:off x="4707867" y="-425928"/>
            <a:ext cx="360093" cy="2416175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9">
            <a:extLst>
              <a:ext uri="{FF2B5EF4-FFF2-40B4-BE49-F238E27FC236}">
                <a16:creationId xmlns:a16="http://schemas.microsoft.com/office/drawing/2014/main" id="{17904EBC-3084-4FA7-81CA-74BD1EE5BA39}"/>
              </a:ext>
            </a:extLst>
          </p:cNvPr>
          <p:cNvSpPr txBox="1">
            <a:spLocks/>
          </p:cNvSpPr>
          <p:nvPr/>
        </p:nvSpPr>
        <p:spPr>
          <a:xfrm>
            <a:off x="6771650" y="6383917"/>
            <a:ext cx="1580400" cy="424800"/>
          </a:xfrm>
          <a:prstGeom prst="rect">
            <a:avLst/>
          </a:prstGeom>
          <a:solidFill>
            <a:srgbClr val="0E5A70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spcBef>
                <a:spcPts val="0"/>
              </a:spcBef>
              <a:buFontTx/>
              <a:buNone/>
            </a:pPr>
            <a:r>
              <a:rPr lang="nb-NO" sz="1200" b="1">
                <a:solidFill>
                  <a:schemeClr val="bg1"/>
                </a:solidFill>
              </a:rPr>
              <a:t>VIRKSOMHET / </a:t>
            </a:r>
            <a:br>
              <a:rPr lang="nb-NO" sz="1200" b="1">
                <a:solidFill>
                  <a:schemeClr val="bg1"/>
                </a:solidFill>
              </a:rPr>
            </a:br>
            <a:r>
              <a:rPr lang="nb-NO" sz="1200" b="1">
                <a:solidFill>
                  <a:schemeClr val="bg1"/>
                </a:solidFill>
              </a:rPr>
              <a:t>SYSTE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1C79AB-54C9-4E2D-9BF6-3684ED283C69}"/>
              </a:ext>
            </a:extLst>
          </p:cNvPr>
          <p:cNvSpPr/>
          <p:nvPr/>
        </p:nvSpPr>
        <p:spPr>
          <a:xfrm>
            <a:off x="5093401" y="6383917"/>
            <a:ext cx="1580400" cy="4248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chemeClr val="tx1"/>
                </a:solidFill>
              </a:rPr>
              <a:t>DATAOBJEKT</a:t>
            </a:r>
            <a:endParaRPr lang="nb-NO" sz="1200">
              <a:solidFill>
                <a:schemeClr val="tx1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4312A12-C00B-4B67-94BD-5A594BCA9BBC}"/>
              </a:ext>
            </a:extLst>
          </p:cNvPr>
          <p:cNvGrpSpPr/>
          <p:nvPr/>
        </p:nvGrpSpPr>
        <p:grpSpPr>
          <a:xfrm>
            <a:off x="57856" y="6383917"/>
            <a:ext cx="1580800" cy="423155"/>
            <a:chOff x="4171950" y="6093112"/>
            <a:chExt cx="1907170" cy="643151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678A033-F961-4AB6-B809-05F50B7788F4}"/>
                </a:ext>
              </a:extLst>
            </p:cNvPr>
            <p:cNvSpPr/>
            <p:nvPr/>
          </p:nvSpPr>
          <p:spPr>
            <a:xfrm>
              <a:off x="4171950" y="6093112"/>
              <a:ext cx="1907170" cy="6431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C29A8967-2166-4FA3-90F0-68D8C1C4CDFC}"/>
                </a:ext>
              </a:extLst>
            </p:cNvPr>
            <p:cNvCxnSpPr>
              <a:cxnSpLocks/>
            </p:cNvCxnSpPr>
            <p:nvPr/>
          </p:nvCxnSpPr>
          <p:spPr>
            <a:xfrm>
              <a:off x="4273549" y="6520082"/>
              <a:ext cx="565151" cy="0"/>
            </a:xfrm>
            <a:prstGeom prst="straightConnector1">
              <a:avLst/>
            </a:prstGeom>
            <a:ln w="38100">
              <a:solidFill>
                <a:srgbClr val="E2606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DA94D4B8-5872-4F46-B46A-3DDBCCDFAFF9}"/>
                </a:ext>
              </a:extLst>
            </p:cNvPr>
            <p:cNvCxnSpPr>
              <a:cxnSpLocks/>
            </p:cNvCxnSpPr>
            <p:nvPr/>
          </p:nvCxnSpPr>
          <p:spPr>
            <a:xfrm>
              <a:off x="4273549" y="6281957"/>
              <a:ext cx="565151" cy="0"/>
            </a:xfrm>
            <a:prstGeom prst="straightConnector1">
              <a:avLst/>
            </a:prstGeom>
            <a:ln w="38100">
              <a:solidFill>
                <a:srgbClr val="ADB9C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149322C-7194-49C5-803F-109965250FFA}"/>
                </a:ext>
              </a:extLst>
            </p:cNvPr>
            <p:cNvSpPr txBox="1"/>
            <p:nvPr/>
          </p:nvSpPr>
          <p:spPr>
            <a:xfrm>
              <a:off x="4786895" y="6142501"/>
              <a:ext cx="1292225" cy="27891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nb-NO" sz="800"/>
                <a:t>Fungerende dataflyt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57A1721-1F7C-47A1-A72C-687D14F88ED4}"/>
                </a:ext>
              </a:extLst>
            </p:cNvPr>
            <p:cNvSpPr txBox="1"/>
            <p:nvPr/>
          </p:nvSpPr>
          <p:spPr>
            <a:xfrm>
              <a:off x="4786895" y="6363389"/>
              <a:ext cx="1292225" cy="3274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nb-NO" sz="800"/>
                <a:t>Manglende dataflyt</a:t>
              </a:r>
            </a:p>
          </p:txBody>
        </p:sp>
      </p:grpSp>
      <p:sp>
        <p:nvSpPr>
          <p:cNvPr id="142" name="Rectangle 9">
            <a:extLst>
              <a:ext uri="{FF2B5EF4-FFF2-40B4-BE49-F238E27FC236}">
                <a16:creationId xmlns:a16="http://schemas.microsoft.com/office/drawing/2014/main" id="{FB1AC3F8-43C6-4BEF-B391-21A49E0D61E9}"/>
              </a:ext>
            </a:extLst>
          </p:cNvPr>
          <p:cNvSpPr txBox="1">
            <a:spLocks/>
          </p:cNvSpPr>
          <p:nvPr/>
        </p:nvSpPr>
        <p:spPr>
          <a:xfrm>
            <a:off x="1736504" y="6385562"/>
            <a:ext cx="1580800" cy="423155"/>
          </a:xfrm>
          <a:prstGeom prst="rect">
            <a:avLst/>
          </a:prstGeom>
          <a:solidFill>
            <a:srgbClr val="758AA7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Tx/>
              <a:buNone/>
            </a:pPr>
            <a:r>
              <a:rPr lang="nb-NO" sz="1200" b="1">
                <a:solidFill>
                  <a:schemeClr val="bg1"/>
                </a:solidFill>
              </a:rPr>
              <a:t>SLUTTKONSUMENT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7E200FA7-86DA-4945-B759-7CDE287E4017}"/>
              </a:ext>
            </a:extLst>
          </p:cNvPr>
          <p:cNvSpPr/>
          <p:nvPr/>
        </p:nvSpPr>
        <p:spPr>
          <a:xfrm>
            <a:off x="8449899" y="6115574"/>
            <a:ext cx="3600032" cy="6914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1400" b="1">
                <a:solidFill>
                  <a:schemeClr val="tx1"/>
                </a:solidFill>
              </a:rPr>
              <a:t>Merknader</a:t>
            </a:r>
            <a:endParaRPr lang="nb-NO" sz="1100" baseline="30000">
              <a:solidFill>
                <a:schemeClr val="tx1"/>
              </a:solidFill>
            </a:endParaRPr>
          </a:p>
          <a:p>
            <a:r>
              <a:rPr lang="nb-NO" sz="1100" baseline="30000">
                <a:solidFill>
                  <a:schemeClr val="tx1"/>
                </a:solidFill>
              </a:rPr>
              <a:t>1</a:t>
            </a:r>
            <a:r>
              <a:rPr lang="nb-NO" sz="1100">
                <a:solidFill>
                  <a:schemeClr val="tx1"/>
                </a:solidFill>
              </a:rPr>
              <a:t> …</a:t>
            </a:r>
          </a:p>
        </p:txBody>
      </p:sp>
      <p:sp>
        <p:nvSpPr>
          <p:cNvPr id="51" name="Rectangle 9">
            <a:extLst>
              <a:ext uri="{FF2B5EF4-FFF2-40B4-BE49-F238E27FC236}">
                <a16:creationId xmlns:a16="http://schemas.microsoft.com/office/drawing/2014/main" id="{D2406D43-27C5-4C99-B809-B1771483B8CA}"/>
              </a:ext>
            </a:extLst>
          </p:cNvPr>
          <p:cNvSpPr txBox="1">
            <a:spLocks/>
          </p:cNvSpPr>
          <p:nvPr/>
        </p:nvSpPr>
        <p:spPr>
          <a:xfrm>
            <a:off x="3415153" y="6383917"/>
            <a:ext cx="1580400" cy="424800"/>
          </a:xfrm>
          <a:prstGeom prst="rect">
            <a:avLst/>
          </a:prstGeom>
          <a:solidFill>
            <a:srgbClr val="EA8A8A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rtlCol="0" anchor="ctr">
            <a:no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spcBef>
                <a:spcPts val="0"/>
              </a:spcBef>
              <a:buFontTx/>
              <a:buNone/>
            </a:pPr>
            <a:r>
              <a:rPr lang="nb-NO" sz="1200" b="1">
                <a:solidFill>
                  <a:schemeClr val="bg1"/>
                </a:solidFill>
              </a:rPr>
              <a:t>FORMÅL</a:t>
            </a:r>
          </a:p>
        </p:txBody>
      </p:sp>
      <p:sp>
        <p:nvSpPr>
          <p:cNvPr id="53" name="Rectangle 9">
            <a:extLst>
              <a:ext uri="{FF2B5EF4-FFF2-40B4-BE49-F238E27FC236}">
                <a16:creationId xmlns:a16="http://schemas.microsoft.com/office/drawing/2014/main" id="{DBA6CEF7-17B8-4600-B7AA-4F6E2809D5C4}"/>
              </a:ext>
            </a:extLst>
          </p:cNvPr>
          <p:cNvSpPr txBox="1">
            <a:spLocks/>
          </p:cNvSpPr>
          <p:nvPr/>
        </p:nvSpPr>
        <p:spPr>
          <a:xfrm>
            <a:off x="7466490" y="2967149"/>
            <a:ext cx="18478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400" b="1">
                <a:solidFill>
                  <a:schemeClr val="bg1"/>
                </a:solidFill>
              </a:rPr>
              <a:t>UDI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1D55FBC-4E4C-4B1F-9455-F4EBF2CD85F8}"/>
              </a:ext>
            </a:extLst>
          </p:cNvPr>
          <p:cNvSpPr/>
          <p:nvPr/>
        </p:nvSpPr>
        <p:spPr>
          <a:xfrm>
            <a:off x="7572495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OM ELEVER </a:t>
            </a:r>
            <a:br>
              <a:rPr lang="nb-NO" sz="900" b="1">
                <a:solidFill>
                  <a:schemeClr val="tx1"/>
                </a:solidFill>
              </a:rPr>
            </a:br>
            <a:r>
              <a:rPr lang="nb-NO" sz="900" b="1">
                <a:solidFill>
                  <a:schemeClr val="tx1"/>
                </a:solidFill>
              </a:rPr>
              <a:t>(VIDEREGÅENDE OPPLÆRING)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F.nr., høyeste og pågående utdanning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9F16030-5E13-43CF-AF68-413738317646}"/>
              </a:ext>
            </a:extLst>
          </p:cNvPr>
          <p:cNvSpPr/>
          <p:nvPr/>
        </p:nvSpPr>
        <p:spPr>
          <a:xfrm>
            <a:off x="9866911" y="1867860"/>
            <a:ext cx="1695452" cy="912927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OM STUDENTER (UH I UTLANDET)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F.nr., høyeste og pågående utdanning (nivå og type)</a:t>
            </a:r>
          </a:p>
          <a:p>
            <a:pPr algn="ctr"/>
            <a:r>
              <a:rPr lang="nb-NO" sz="900" b="1">
                <a:solidFill>
                  <a:schemeClr val="tx1"/>
                </a:solidFill>
              </a:rPr>
              <a:t>INDIVIDDATA OM FHS-ELEVER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F.nr., utdanning (nivå og type)</a:t>
            </a:r>
          </a:p>
        </p:txBody>
      </p:sp>
      <p:sp>
        <p:nvSpPr>
          <p:cNvPr id="62" name="Rectangle 9">
            <a:extLst>
              <a:ext uri="{FF2B5EF4-FFF2-40B4-BE49-F238E27FC236}">
                <a16:creationId xmlns:a16="http://schemas.microsoft.com/office/drawing/2014/main" id="{79E22F4F-8A85-47B4-9E73-DB955E4E6D03}"/>
              </a:ext>
            </a:extLst>
          </p:cNvPr>
          <p:cNvSpPr txBox="1">
            <a:spLocks/>
          </p:cNvSpPr>
          <p:nvPr/>
        </p:nvSpPr>
        <p:spPr>
          <a:xfrm>
            <a:off x="7698143" y="4789856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200" b="1">
                <a:solidFill>
                  <a:schemeClr val="bg1"/>
                </a:solidFill>
              </a:rPr>
              <a:t>VIGO? /</a:t>
            </a:r>
            <a:br>
              <a:rPr lang="nb-NO" sz="1200" b="1">
                <a:solidFill>
                  <a:schemeClr val="bg1"/>
                </a:solidFill>
              </a:rPr>
            </a:br>
            <a:r>
              <a:rPr lang="nb-NO" sz="1200" b="1">
                <a:solidFill>
                  <a:schemeClr val="bg1"/>
                </a:solidFill>
              </a:rPr>
              <a:t>Fylkeskommune?</a:t>
            </a: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03FDE147-3729-44C2-B6FD-9097BCD64288}"/>
              </a:ext>
            </a:extLst>
          </p:cNvPr>
          <p:cNvCxnSpPr>
            <a:cxnSpLocks/>
            <a:stCxn id="62" idx="0"/>
            <a:endCxn id="53" idx="2"/>
          </p:cNvCxnSpPr>
          <p:nvPr/>
        </p:nvCxnSpPr>
        <p:spPr>
          <a:xfrm rot="16200000" flipV="1">
            <a:off x="7936684" y="4320371"/>
            <a:ext cx="923217" cy="15753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86D84713-E0E2-4E9B-ACB1-A40C0F70926C}"/>
              </a:ext>
            </a:extLst>
          </p:cNvPr>
          <p:cNvSpPr/>
          <p:nvPr/>
        </p:nvSpPr>
        <p:spPr>
          <a:xfrm>
            <a:off x="7756536" y="4063575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Navn, personnummer, skole, valgfag, karakterer, …</a:t>
            </a:r>
          </a:p>
        </p:txBody>
      </p:sp>
      <p:sp>
        <p:nvSpPr>
          <p:cNvPr id="65" name="Rectangle 9">
            <a:extLst>
              <a:ext uri="{FF2B5EF4-FFF2-40B4-BE49-F238E27FC236}">
                <a16:creationId xmlns:a16="http://schemas.microsoft.com/office/drawing/2014/main" id="{EF7F41CD-E0D4-4C70-AB07-27DBCD5F19D3}"/>
              </a:ext>
            </a:extLst>
          </p:cNvPr>
          <p:cNvSpPr txBox="1">
            <a:spLocks/>
          </p:cNvSpPr>
          <p:nvPr/>
        </p:nvSpPr>
        <p:spPr>
          <a:xfrm>
            <a:off x="5350291" y="4789856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200" b="1">
                <a:solidFill>
                  <a:schemeClr val="bg1"/>
                </a:solidFill>
              </a:rPr>
              <a:t>Høyskoler og universiteter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023B3E18-ABBE-44B7-97EE-BC9F713E9355}"/>
              </a:ext>
            </a:extLst>
          </p:cNvPr>
          <p:cNvCxnSpPr>
            <a:cxnSpLocks/>
            <a:stCxn id="65" idx="0"/>
            <a:endCxn id="8" idx="2"/>
          </p:cNvCxnSpPr>
          <p:nvPr/>
        </p:nvCxnSpPr>
        <p:spPr>
          <a:xfrm rot="5400000" flipH="1" flipV="1">
            <a:off x="5600646" y="4324310"/>
            <a:ext cx="923217" cy="7877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57830AC8-10D1-4781-961B-FCCA0947CE13}"/>
              </a:ext>
            </a:extLst>
          </p:cNvPr>
          <p:cNvSpPr/>
          <p:nvPr/>
        </p:nvSpPr>
        <p:spPr>
          <a:xfrm>
            <a:off x="5408684" y="4063575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Navn, personnummer, skole, studieretning, karakterer, …</a:t>
            </a:r>
          </a:p>
        </p:txBody>
      </p:sp>
      <p:sp>
        <p:nvSpPr>
          <p:cNvPr id="74" name="Rectangle 9">
            <a:extLst>
              <a:ext uri="{FF2B5EF4-FFF2-40B4-BE49-F238E27FC236}">
                <a16:creationId xmlns:a16="http://schemas.microsoft.com/office/drawing/2014/main" id="{B8C74F65-EA4A-49EE-B739-872164835E29}"/>
              </a:ext>
            </a:extLst>
          </p:cNvPr>
          <p:cNvSpPr txBox="1">
            <a:spLocks/>
          </p:cNvSpPr>
          <p:nvPr/>
        </p:nvSpPr>
        <p:spPr>
          <a:xfrm>
            <a:off x="3018194" y="4789856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200" b="1">
                <a:solidFill>
                  <a:schemeClr val="bg1"/>
                </a:solidFill>
              </a:rPr>
              <a:t>Manuell registrering (saksbehandler)</a:t>
            </a:r>
          </a:p>
        </p:txBody>
      </p: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6151B95D-2DD6-43E8-A17D-68A170354D3A}"/>
              </a:ext>
            </a:extLst>
          </p:cNvPr>
          <p:cNvCxnSpPr>
            <a:cxnSpLocks/>
            <a:stCxn id="74" idx="0"/>
            <a:endCxn id="7" idx="2"/>
          </p:cNvCxnSpPr>
          <p:nvPr/>
        </p:nvCxnSpPr>
        <p:spPr>
          <a:xfrm rot="5400000" flipH="1" flipV="1">
            <a:off x="3272487" y="4320372"/>
            <a:ext cx="923217" cy="15753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F5B2F16F-1123-41A5-A0DA-F67B7A75522D}"/>
              </a:ext>
            </a:extLst>
          </p:cNvPr>
          <p:cNvSpPr/>
          <p:nvPr/>
        </p:nvSpPr>
        <p:spPr>
          <a:xfrm>
            <a:off x="3076587" y="4063575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Tiltaksform, detaljer om tiltak, …</a:t>
            </a:r>
          </a:p>
        </p:txBody>
      </p:sp>
      <p:sp>
        <p:nvSpPr>
          <p:cNvPr id="78" name="Rectangle 9">
            <a:extLst>
              <a:ext uri="{FF2B5EF4-FFF2-40B4-BE49-F238E27FC236}">
                <a16:creationId xmlns:a16="http://schemas.microsoft.com/office/drawing/2014/main" id="{E50AA33F-1E1C-44B5-B606-BF9B85C41387}"/>
              </a:ext>
            </a:extLst>
          </p:cNvPr>
          <p:cNvSpPr txBox="1">
            <a:spLocks/>
          </p:cNvSpPr>
          <p:nvPr/>
        </p:nvSpPr>
        <p:spPr>
          <a:xfrm>
            <a:off x="686089" y="4789856"/>
            <a:ext cx="1416050" cy="899490"/>
          </a:xfrm>
          <a:prstGeom prst="rect">
            <a:avLst/>
          </a:prstGeom>
          <a:solidFill>
            <a:srgbClr val="0E5A70"/>
          </a:solidFill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42900" indent="-342900" algn="l" defTabSz="685800" rtl="0" eaLnBrk="1" latinLnBrk="0" hangingPunct="1">
              <a:spcBef>
                <a:spcPts val="108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79300" indent="-342900" algn="l" defTabSz="685800" rtl="0" eaLnBrk="1" latinLnBrk="0" hangingPunct="1">
              <a:spcBef>
                <a:spcPts val="900"/>
              </a:spcBef>
              <a:buSzPct val="70000"/>
              <a:buFontTx/>
              <a:buBlip>
                <a:blip r:embed="rId6"/>
              </a:buBlip>
              <a:defRPr lang="en-US" sz="20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7257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noProof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8550" indent="-285750" algn="l" defTabSz="685800" rtl="0" eaLnBrk="1" latinLnBrk="0" hangingPunct="1">
              <a:spcBef>
                <a:spcPts val="810"/>
              </a:spcBef>
              <a:buSzPct val="70000"/>
              <a:buFontTx/>
              <a:buBlip>
                <a:blip r:embed="rId6"/>
              </a:buBlip>
              <a:defRPr lang="en-US" sz="1800" kern="1200" baseline="0" noProof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4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4963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27388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590925" indent="-171450" algn="l" defTabSz="685800" rtl="0" eaLnBrk="1" latinLnBrk="0" hangingPunct="1">
              <a:spcBef>
                <a:spcPct val="20000"/>
              </a:spcBef>
              <a:buSzPct val="70000"/>
              <a:buFontTx/>
              <a:buBlip>
                <a:blip r:embed="rId6"/>
              </a:buBlip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None/>
            </a:pPr>
            <a:r>
              <a:rPr lang="nb-NO" sz="1200" b="1">
                <a:solidFill>
                  <a:schemeClr val="bg1"/>
                </a:solidFill>
              </a:rPr>
              <a:t>A-meldingen (arbeidsgivere)</a:t>
            </a:r>
          </a:p>
        </p:txBody>
      </p: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2A210CEF-BFF8-4C99-B8E7-7567108B0C2F}"/>
              </a:ext>
            </a:extLst>
          </p:cNvPr>
          <p:cNvCxnSpPr>
            <a:cxnSpLocks/>
            <a:stCxn id="78" idx="0"/>
            <a:endCxn id="6" idx="2"/>
          </p:cNvCxnSpPr>
          <p:nvPr/>
        </p:nvCxnSpPr>
        <p:spPr>
          <a:xfrm rot="5400000" flipH="1" flipV="1">
            <a:off x="944324" y="4316430"/>
            <a:ext cx="923217" cy="23637"/>
          </a:xfrm>
          <a:prstGeom prst="bentConnector3">
            <a:avLst>
              <a:gd name="adj1" fmla="val 50000"/>
            </a:avLst>
          </a:prstGeom>
          <a:ln w="3810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2C3D34C7-EB53-46E9-82E4-704B689C9E3B}"/>
              </a:ext>
            </a:extLst>
          </p:cNvPr>
          <p:cNvSpPr/>
          <p:nvPr/>
        </p:nvSpPr>
        <p:spPr>
          <a:xfrm>
            <a:off x="744482" y="4063575"/>
            <a:ext cx="1299264" cy="678562"/>
          </a:xfrm>
          <a:prstGeom prst="rect">
            <a:avLst/>
          </a:prstGeom>
          <a:solidFill>
            <a:srgbClr val="BFBFB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>
                <a:solidFill>
                  <a:schemeClr val="tx1"/>
                </a:solidFill>
              </a:rPr>
              <a:t>INDIVIDDATA </a:t>
            </a:r>
          </a:p>
          <a:p>
            <a:pPr algn="ctr"/>
            <a:r>
              <a:rPr lang="nb-NO" sz="900">
                <a:solidFill>
                  <a:schemeClr val="tx1"/>
                </a:solidFill>
              </a:rPr>
              <a:t>Arbeidssted, stillingsprosent, inntekt, …</a:t>
            </a:r>
          </a:p>
        </p:txBody>
      </p:sp>
      <p:sp>
        <p:nvSpPr>
          <p:cNvPr id="2" name="Diagonal Stripe 1">
            <a:extLst>
              <a:ext uri="{FF2B5EF4-FFF2-40B4-BE49-F238E27FC236}">
                <a16:creationId xmlns:a16="http://schemas.microsoft.com/office/drawing/2014/main" id="{8AD27E75-CB13-4C66-BCA1-25FCA357DFE0}"/>
              </a:ext>
            </a:extLst>
          </p:cNvPr>
          <p:cNvSpPr/>
          <p:nvPr/>
        </p:nvSpPr>
        <p:spPr>
          <a:xfrm>
            <a:off x="0" y="0"/>
            <a:ext cx="2043746" cy="2043746"/>
          </a:xfrm>
          <a:prstGeom prst="diagStrip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F9D6E5-B9D2-4FCF-8A63-0D4FA88D4B10}"/>
              </a:ext>
            </a:extLst>
          </p:cNvPr>
          <p:cNvSpPr txBox="1"/>
          <p:nvPr/>
        </p:nvSpPr>
        <p:spPr>
          <a:xfrm rot="18902544">
            <a:off x="-189468" y="564987"/>
            <a:ext cx="19156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Eksempel fra NAV</a:t>
            </a:r>
          </a:p>
        </p:txBody>
      </p:sp>
    </p:spTree>
    <p:extLst>
      <p:ext uri="{BB962C8B-B14F-4D97-AF65-F5344CB8AC3E}">
        <p14:creationId xmlns:p14="http://schemas.microsoft.com/office/powerpoint/2010/main" val="184417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D3E0C9-D7C0-4004-82E9-79FA9A277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mmeverk for digital samhandling står sentralt i verdikjedeanalysene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9496D2E6-B3CB-48EE-ACC3-8AAE3AB58D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093" y="1749748"/>
            <a:ext cx="7738516" cy="4478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5123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DC1CA3C-7C50-436F-9D34-2FD83571B4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DC1CA3C-7C50-436F-9D34-2FD83571B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9B6DB22F-0D6C-495E-BAC5-4132FE9D0F46}"/>
              </a:ext>
            </a:extLst>
          </p:cNvPr>
          <p:cNvGrpSpPr/>
          <p:nvPr/>
        </p:nvGrpSpPr>
        <p:grpSpPr>
          <a:xfrm>
            <a:off x="804283" y="1808297"/>
            <a:ext cx="10551904" cy="4054206"/>
            <a:chOff x="461935" y="1401897"/>
            <a:chExt cx="10551904" cy="4054206"/>
          </a:xfrm>
        </p:grpSpPr>
        <p:pic>
          <p:nvPicPr>
            <p:cNvPr id="2" name="Bilde 1">
              <a:extLst>
                <a:ext uri="{FF2B5EF4-FFF2-40B4-BE49-F238E27FC236}">
                  <a16:creationId xmlns:a16="http://schemas.microsoft.com/office/drawing/2014/main" id="{08B60EBC-FEA4-4E93-BDDC-7C6AF22235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040" t="3670" r="27462" b="3670"/>
            <a:stretch/>
          </p:blipFill>
          <p:spPr>
            <a:xfrm>
              <a:off x="461935" y="1401897"/>
              <a:ext cx="5273039" cy="4054206"/>
            </a:xfrm>
            <a:prstGeom prst="rect">
              <a:avLst/>
            </a:prstGeom>
          </p:spPr>
        </p:pic>
        <p:pic>
          <p:nvPicPr>
            <p:cNvPr id="3" name="Bilde 1">
              <a:extLst>
                <a:ext uri="{FF2B5EF4-FFF2-40B4-BE49-F238E27FC236}">
                  <a16:creationId xmlns:a16="http://schemas.microsoft.com/office/drawing/2014/main" id="{2455DEBB-F394-4415-98C2-DF73AA0B97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9907" t="3670" r="8528" b="3670"/>
            <a:stretch/>
          </p:blipFill>
          <p:spPr>
            <a:xfrm>
              <a:off x="5566295" y="1401897"/>
              <a:ext cx="5112552" cy="4054206"/>
            </a:xfrm>
            <a:prstGeom prst="rect">
              <a:avLst/>
            </a:prstGeom>
          </p:spPr>
        </p:pic>
        <p:pic>
          <p:nvPicPr>
            <p:cNvPr id="13" name="Bilde 1">
              <a:extLst>
                <a:ext uri="{FF2B5EF4-FFF2-40B4-BE49-F238E27FC236}">
                  <a16:creationId xmlns:a16="http://schemas.microsoft.com/office/drawing/2014/main" id="{82986092-20BB-4F00-8435-4E0A8BDA25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9907" t="3670" r="5040" b="3670"/>
            <a:stretch/>
          </p:blipFill>
          <p:spPr>
            <a:xfrm>
              <a:off x="10619080" y="1401897"/>
              <a:ext cx="394759" cy="4054206"/>
            </a:xfrm>
            <a:prstGeom prst="rect">
              <a:avLst/>
            </a:prstGeom>
          </p:spPr>
        </p:pic>
      </p:grpSp>
      <p:sp>
        <p:nvSpPr>
          <p:cNvPr id="6" name="Rectangle: Folded Corner 5">
            <a:extLst>
              <a:ext uri="{FF2B5EF4-FFF2-40B4-BE49-F238E27FC236}">
                <a16:creationId xmlns:a16="http://schemas.microsoft.com/office/drawing/2014/main" id="{2477F8AF-C27A-4F37-B49A-BB2D1FC6AA8E}"/>
              </a:ext>
            </a:extLst>
          </p:cNvPr>
          <p:cNvSpPr/>
          <p:nvPr/>
        </p:nvSpPr>
        <p:spPr>
          <a:xfrm>
            <a:off x="6489116" y="3022628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Overlapp mellom virksomheter</a:t>
            </a:r>
          </a:p>
        </p:txBody>
      </p:sp>
      <p:sp>
        <p:nvSpPr>
          <p:cNvPr id="7" name="Rectangle: Folded Corner 6">
            <a:extLst>
              <a:ext uri="{FF2B5EF4-FFF2-40B4-BE49-F238E27FC236}">
                <a16:creationId xmlns:a16="http://schemas.microsoft.com/office/drawing/2014/main" id="{66E22772-5685-4C58-9D5B-F39566829338}"/>
              </a:ext>
            </a:extLst>
          </p:cNvPr>
          <p:cNvSpPr/>
          <p:nvPr/>
        </p:nvSpPr>
        <p:spPr>
          <a:xfrm>
            <a:off x="9057010" y="4897353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tilgang til data</a:t>
            </a:r>
          </a:p>
        </p:txBody>
      </p:sp>
      <p:sp>
        <p:nvSpPr>
          <p:cNvPr id="8" name="Rectangle: Folded Corner 7">
            <a:extLst>
              <a:ext uri="{FF2B5EF4-FFF2-40B4-BE49-F238E27FC236}">
                <a16:creationId xmlns:a16="http://schemas.microsoft.com/office/drawing/2014/main" id="{F1174274-1E1E-45A0-AD85-DBA69DD58E89}"/>
              </a:ext>
            </a:extLst>
          </p:cNvPr>
          <p:cNvSpPr/>
          <p:nvPr/>
        </p:nvSpPr>
        <p:spPr>
          <a:xfrm>
            <a:off x="6489116" y="2089788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Ulik tolkning av regelverk</a:t>
            </a:r>
          </a:p>
        </p:txBody>
      </p:sp>
      <p:sp>
        <p:nvSpPr>
          <p:cNvPr id="9" name="Rectangle: Folded Corner 8">
            <a:extLst>
              <a:ext uri="{FF2B5EF4-FFF2-40B4-BE49-F238E27FC236}">
                <a16:creationId xmlns:a16="http://schemas.microsoft.com/office/drawing/2014/main" id="{812C9073-9232-461F-90B4-CAE4EF0CF1FC}"/>
              </a:ext>
            </a:extLst>
          </p:cNvPr>
          <p:cNvSpPr/>
          <p:nvPr/>
        </p:nvSpPr>
        <p:spPr>
          <a:xfrm>
            <a:off x="8194721" y="4437758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Dårlig datakvalitet</a:t>
            </a:r>
          </a:p>
        </p:txBody>
      </p:sp>
      <p:sp>
        <p:nvSpPr>
          <p:cNvPr id="10" name="Rectangle: Folded Corner 9">
            <a:extLst>
              <a:ext uri="{FF2B5EF4-FFF2-40B4-BE49-F238E27FC236}">
                <a16:creationId xmlns:a16="http://schemas.microsoft.com/office/drawing/2014/main" id="{950B6BE2-4173-4A3B-A0C2-0C6287E829BA}"/>
              </a:ext>
            </a:extLst>
          </p:cNvPr>
          <p:cNvSpPr/>
          <p:nvPr/>
        </p:nvSpPr>
        <p:spPr>
          <a:xfrm>
            <a:off x="6470407" y="3968405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</a:t>
            </a:r>
            <a:r>
              <a:rPr lang="nb-NO" sz="1000" err="1">
                <a:solidFill>
                  <a:schemeClr val="tx1"/>
                </a:solidFill>
              </a:rPr>
              <a:t>harmon-isering</a:t>
            </a:r>
            <a:endParaRPr lang="nb-NO" sz="1000">
              <a:solidFill>
                <a:schemeClr val="tx1"/>
              </a:solidFill>
            </a:endParaRPr>
          </a:p>
        </p:txBody>
      </p:sp>
      <p:sp>
        <p:nvSpPr>
          <p:cNvPr id="11" name="Rectangle: Folded Corner 10">
            <a:extLst>
              <a:ext uri="{FF2B5EF4-FFF2-40B4-BE49-F238E27FC236}">
                <a16:creationId xmlns:a16="http://schemas.microsoft.com/office/drawing/2014/main" id="{B125C08D-26BF-47F7-80E4-3C2D7B5BE313}"/>
              </a:ext>
            </a:extLst>
          </p:cNvPr>
          <p:cNvSpPr/>
          <p:nvPr/>
        </p:nvSpPr>
        <p:spPr>
          <a:xfrm>
            <a:off x="8895848" y="3022628"/>
            <a:ext cx="696813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data</a:t>
            </a:r>
          </a:p>
        </p:txBody>
      </p:sp>
      <p:sp>
        <p:nvSpPr>
          <p:cNvPr id="12" name="Rectangle: Folded Corner 11">
            <a:extLst>
              <a:ext uri="{FF2B5EF4-FFF2-40B4-BE49-F238E27FC236}">
                <a16:creationId xmlns:a16="http://schemas.microsoft.com/office/drawing/2014/main" id="{A40DA4E9-F768-4E0D-9623-F4B5E6941AD1}"/>
              </a:ext>
            </a:extLst>
          </p:cNvPr>
          <p:cNvSpPr/>
          <p:nvPr/>
        </p:nvSpPr>
        <p:spPr>
          <a:xfrm>
            <a:off x="6470407" y="4890201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system / kobling</a:t>
            </a:r>
          </a:p>
        </p:txBody>
      </p:sp>
      <p:sp>
        <p:nvSpPr>
          <p:cNvPr id="16" name="Rectangle: Folded Corner 15">
            <a:extLst>
              <a:ext uri="{FF2B5EF4-FFF2-40B4-BE49-F238E27FC236}">
                <a16:creationId xmlns:a16="http://schemas.microsoft.com/office/drawing/2014/main" id="{C33639F2-995F-42A4-A534-3882BFB98245}"/>
              </a:ext>
            </a:extLst>
          </p:cNvPr>
          <p:cNvSpPr/>
          <p:nvPr/>
        </p:nvSpPr>
        <p:spPr>
          <a:xfrm>
            <a:off x="7290662" y="3022628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Lang saks- / søknads-behandling</a:t>
            </a:r>
          </a:p>
        </p:txBody>
      </p:sp>
      <p:sp>
        <p:nvSpPr>
          <p:cNvPr id="17" name="Rectangle: Folded Corner 16">
            <a:extLst>
              <a:ext uri="{FF2B5EF4-FFF2-40B4-BE49-F238E27FC236}">
                <a16:creationId xmlns:a16="http://schemas.microsoft.com/office/drawing/2014/main" id="{5D217909-E54F-49FA-B596-A4B4F2A3AA21}"/>
              </a:ext>
            </a:extLst>
          </p:cNvPr>
          <p:cNvSpPr/>
          <p:nvPr/>
        </p:nvSpPr>
        <p:spPr>
          <a:xfrm>
            <a:off x="7290662" y="4889291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uell / tidkrevende utveksling</a:t>
            </a:r>
          </a:p>
        </p:txBody>
      </p:sp>
      <p:sp>
        <p:nvSpPr>
          <p:cNvPr id="18" name="Rectangle: Folded Corner 17">
            <a:extLst>
              <a:ext uri="{FF2B5EF4-FFF2-40B4-BE49-F238E27FC236}">
                <a16:creationId xmlns:a16="http://schemas.microsoft.com/office/drawing/2014/main" id="{9E81EDF0-7ECE-42B2-BDC5-917D8DF80ED9}"/>
              </a:ext>
            </a:extLst>
          </p:cNvPr>
          <p:cNvSpPr/>
          <p:nvPr/>
        </p:nvSpPr>
        <p:spPr>
          <a:xfrm>
            <a:off x="8092057" y="3022628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oversikt / kjennskap</a:t>
            </a:r>
          </a:p>
        </p:txBody>
      </p:sp>
      <p:sp>
        <p:nvSpPr>
          <p:cNvPr id="20" name="Rectangle: Folded Corner 19">
            <a:extLst>
              <a:ext uri="{FF2B5EF4-FFF2-40B4-BE49-F238E27FC236}">
                <a16:creationId xmlns:a16="http://schemas.microsoft.com/office/drawing/2014/main" id="{897162D9-9721-4188-9E15-72614880424D}"/>
              </a:ext>
            </a:extLst>
          </p:cNvPr>
          <p:cNvSpPr/>
          <p:nvPr/>
        </p:nvSpPr>
        <p:spPr>
          <a:xfrm>
            <a:off x="10503485" y="2542572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tilgang til da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062CF-9464-4A68-B9B7-F36C1E0E6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311333" cy="1325563"/>
          </a:xfrm>
        </p:spPr>
        <p:txBody>
          <a:bodyPr vert="horz"/>
          <a:lstStyle/>
          <a:p>
            <a:r>
              <a:rPr lang="nb-NO"/>
              <a:t>Verdikjedeanalysene identifiserer utfordringer knyttet til digital samhandlingsevne</a:t>
            </a:r>
          </a:p>
        </p:txBody>
      </p:sp>
      <p:sp>
        <p:nvSpPr>
          <p:cNvPr id="19" name="Rectangle: Folded Corner 7">
            <a:extLst>
              <a:ext uri="{FF2B5EF4-FFF2-40B4-BE49-F238E27FC236}">
                <a16:creationId xmlns:a16="http://schemas.microsoft.com/office/drawing/2014/main" id="{1AC09210-DD1E-449D-A6EF-F19DFE7299E9}"/>
              </a:ext>
            </a:extLst>
          </p:cNvPr>
          <p:cNvSpPr/>
          <p:nvPr/>
        </p:nvSpPr>
        <p:spPr>
          <a:xfrm>
            <a:off x="7302966" y="2085487"/>
            <a:ext cx="694568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Usikkerhet ift. tolkning av regelverk</a:t>
            </a:r>
          </a:p>
        </p:txBody>
      </p:sp>
      <p:sp>
        <p:nvSpPr>
          <p:cNvPr id="21" name="Rectangle: Folded Corner 7">
            <a:extLst>
              <a:ext uri="{FF2B5EF4-FFF2-40B4-BE49-F238E27FC236}">
                <a16:creationId xmlns:a16="http://schemas.microsoft.com/office/drawing/2014/main" id="{683241D0-9F8E-42DE-91CA-096E2DA608C8}"/>
              </a:ext>
            </a:extLst>
          </p:cNvPr>
          <p:cNvSpPr/>
          <p:nvPr/>
        </p:nvSpPr>
        <p:spPr>
          <a:xfrm>
            <a:off x="8104512" y="2088065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lende hjemmel</a:t>
            </a:r>
          </a:p>
        </p:txBody>
      </p:sp>
      <p:sp>
        <p:nvSpPr>
          <p:cNvPr id="22" name="Rectangle: Folded Corner 10">
            <a:extLst>
              <a:ext uri="{FF2B5EF4-FFF2-40B4-BE49-F238E27FC236}">
                <a16:creationId xmlns:a16="http://schemas.microsoft.com/office/drawing/2014/main" id="{1C27B736-E9BA-45A0-BB55-4E7A1B54D2EE}"/>
              </a:ext>
            </a:extLst>
          </p:cNvPr>
          <p:cNvSpPr/>
          <p:nvPr/>
        </p:nvSpPr>
        <p:spPr>
          <a:xfrm>
            <a:off x="9661539" y="3022628"/>
            <a:ext cx="696813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el på avtale om utveksling</a:t>
            </a:r>
          </a:p>
        </p:txBody>
      </p:sp>
      <p:sp>
        <p:nvSpPr>
          <p:cNvPr id="23" name="Rectangle: Folded Corner 10">
            <a:extLst>
              <a:ext uri="{FF2B5EF4-FFF2-40B4-BE49-F238E27FC236}">
                <a16:creationId xmlns:a16="http://schemas.microsoft.com/office/drawing/2014/main" id="{144C1ECB-25A2-4529-A3BD-735B41308DB1}"/>
              </a:ext>
            </a:extLst>
          </p:cNvPr>
          <p:cNvSpPr/>
          <p:nvPr/>
        </p:nvSpPr>
        <p:spPr>
          <a:xfrm>
            <a:off x="7290662" y="3968405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r>
              <a:rPr lang="nb-NO" sz="1000">
                <a:solidFill>
                  <a:schemeClr val="tx1"/>
                </a:solidFill>
              </a:rPr>
              <a:t>Mangelfulle metadata</a:t>
            </a:r>
          </a:p>
        </p:txBody>
      </p:sp>
      <p:sp>
        <p:nvSpPr>
          <p:cNvPr id="24" name="Rectangle: Folded Corner 7">
            <a:extLst>
              <a:ext uri="{FF2B5EF4-FFF2-40B4-BE49-F238E27FC236}">
                <a16:creationId xmlns:a16="http://schemas.microsoft.com/office/drawing/2014/main" id="{9BA36985-CCFB-430E-B472-BD0D1DED3707}"/>
              </a:ext>
            </a:extLst>
          </p:cNvPr>
          <p:cNvSpPr/>
          <p:nvPr/>
        </p:nvSpPr>
        <p:spPr>
          <a:xfrm>
            <a:off x="8956215" y="2089333"/>
            <a:ext cx="745724" cy="745724"/>
          </a:xfrm>
          <a:prstGeom prst="foldedCorner">
            <a:avLst>
              <a:gd name="adj" fmla="val 26191"/>
            </a:avLst>
          </a:prstGeom>
          <a:solidFill>
            <a:srgbClr val="CD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/>
          <a:lstStyle/>
          <a:p>
            <a:pPr algn="ctr"/>
            <a:endParaRPr lang="nb-NO" sz="1000">
              <a:solidFill>
                <a:schemeClr val="tx1"/>
              </a:solidFill>
            </a:endParaRPr>
          </a:p>
          <a:p>
            <a:r>
              <a:rPr lang="nb-NO" sz="1000">
                <a:solidFill>
                  <a:schemeClr val="tx1"/>
                </a:solidFill>
              </a:rPr>
              <a:t>Lite digitaliseringsvennlig regelverk</a:t>
            </a:r>
          </a:p>
        </p:txBody>
      </p:sp>
    </p:spTree>
    <p:extLst>
      <p:ext uri="{BB962C8B-B14F-4D97-AF65-F5344CB8AC3E}">
        <p14:creationId xmlns:p14="http://schemas.microsoft.com/office/powerpoint/2010/main" val="282283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: avrundede hjørner 27">
            <a:extLst>
              <a:ext uri="{FF2B5EF4-FFF2-40B4-BE49-F238E27FC236}">
                <a16:creationId xmlns:a16="http://schemas.microsoft.com/office/drawing/2014/main" id="{66993FB9-0FD0-43DA-8476-81B2B5D34852}"/>
              </a:ext>
            </a:extLst>
          </p:cNvPr>
          <p:cNvSpPr/>
          <p:nvPr/>
        </p:nvSpPr>
        <p:spPr>
          <a:xfrm>
            <a:off x="6819983" y="1905321"/>
            <a:ext cx="4111583" cy="3773053"/>
          </a:xfrm>
          <a:prstGeom prst="roundRect">
            <a:avLst>
              <a:gd name="adj" fmla="val 7692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b-NO" b="1">
                <a:solidFill>
                  <a:schemeClr val="tx1"/>
                </a:solidFill>
              </a:rPr>
              <a:t>Koordinerende</a:t>
            </a:r>
          </a:p>
          <a:p>
            <a:pPr algn="ctr"/>
            <a:r>
              <a:rPr lang="nb-NO" b="1">
                <a:solidFill>
                  <a:schemeClr val="tx1"/>
                </a:solidFill>
              </a:rPr>
              <a:t>aktør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7DEC01FC-4817-4E2E-A5DD-B72DDC8C10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76529" y="3347127"/>
            <a:ext cx="1048909" cy="10489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Bilde 38">
            <a:extLst>
              <a:ext uri="{FF2B5EF4-FFF2-40B4-BE49-F238E27FC236}">
                <a16:creationId xmlns:a16="http://schemas.microsoft.com/office/drawing/2014/main" id="{04DF9F9A-21D4-41F1-AAD2-D0CFD4B9CA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9270" y="1859217"/>
            <a:ext cx="5012299" cy="3826841"/>
          </a:xfrm>
          <a:prstGeom prst="rect">
            <a:avLst/>
          </a:prstGeom>
        </p:spPr>
      </p:pic>
      <p:sp>
        <p:nvSpPr>
          <p:cNvPr id="38" name="Rektangel: avrundede hjørner 37">
            <a:extLst>
              <a:ext uri="{FF2B5EF4-FFF2-40B4-BE49-F238E27FC236}">
                <a16:creationId xmlns:a16="http://schemas.microsoft.com/office/drawing/2014/main" id="{C051C0D8-9C3E-4601-B664-3B5F048F46C4}"/>
              </a:ext>
            </a:extLst>
          </p:cNvPr>
          <p:cNvSpPr/>
          <p:nvPr/>
        </p:nvSpPr>
        <p:spPr>
          <a:xfrm>
            <a:off x="5919268" y="1905321"/>
            <a:ext cx="1204901" cy="3773053"/>
          </a:xfrm>
          <a:prstGeom prst="roundRect">
            <a:avLst>
              <a:gd name="adj" fmla="val 10227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nb-NO"/>
          </a:p>
          <a:p>
            <a:pPr algn="ctr"/>
            <a:r>
              <a:rPr lang="nb-NO">
                <a:solidFill>
                  <a:schemeClr val="tx1"/>
                </a:solidFill>
              </a:rPr>
              <a:t>Koordinering og tilrettelegging for samhandling om deling av data for analyse og innsikt</a:t>
            </a: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9DC1CA3C-7C50-436F-9D34-2FD83571B4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9DC1CA3C-7C50-436F-9D34-2FD83571B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3B062CF-9464-4A68-B9B7-F36C1E0E6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311333" cy="1325563"/>
          </a:xfrm>
        </p:spPr>
        <p:txBody>
          <a:bodyPr vert="horz"/>
          <a:lstStyle/>
          <a:p>
            <a:r>
              <a:rPr lang="nb-NO"/>
              <a:t>Virkemidler i programmet for å løse flokene</a:t>
            </a: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EA3D9CC2-CE12-491B-B550-2AFC522EE2AB}"/>
              </a:ext>
            </a:extLst>
          </p:cNvPr>
          <p:cNvGrpSpPr/>
          <p:nvPr/>
        </p:nvGrpSpPr>
        <p:grpSpPr>
          <a:xfrm>
            <a:off x="7334781" y="3462987"/>
            <a:ext cx="1665647" cy="817191"/>
            <a:chOff x="7655234" y="3661770"/>
            <a:chExt cx="1665647" cy="817191"/>
          </a:xfrm>
        </p:grpSpPr>
        <p:sp>
          <p:nvSpPr>
            <p:cNvPr id="27" name="Rektangel: avrundede hjørner 26">
              <a:extLst>
                <a:ext uri="{FF2B5EF4-FFF2-40B4-BE49-F238E27FC236}">
                  <a16:creationId xmlns:a16="http://schemas.microsoft.com/office/drawing/2014/main" id="{8957C3C7-2D90-4CA5-8B9D-00ACC76C773B}"/>
                </a:ext>
              </a:extLst>
            </p:cNvPr>
            <p:cNvSpPr/>
            <p:nvPr/>
          </p:nvSpPr>
          <p:spPr>
            <a:xfrm>
              <a:off x="7655234" y="3661770"/>
              <a:ext cx="1665647" cy="81719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>
                  <a:solidFill>
                    <a:schemeClr val="tx1"/>
                  </a:solidFill>
                </a:rPr>
                <a:t>Rådgivende juridisk forum</a:t>
              </a:r>
            </a:p>
          </p:txBody>
        </p:sp>
        <p:pic>
          <p:nvPicPr>
            <p:cNvPr id="26" name="Grafikk 25" descr="Klubbe med heldekkende fyll">
              <a:extLst>
                <a:ext uri="{FF2B5EF4-FFF2-40B4-BE49-F238E27FC236}">
                  <a16:creationId xmlns:a16="http://schemas.microsoft.com/office/drawing/2014/main" id="{094E7647-8039-4C74-B495-704D6664D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53568" y="3677138"/>
              <a:ext cx="278184" cy="278184"/>
            </a:xfrm>
            <a:prstGeom prst="rect">
              <a:avLst/>
            </a:prstGeom>
          </p:spPr>
        </p:pic>
      </p:grpSp>
      <p:pic>
        <p:nvPicPr>
          <p:cNvPr id="30" name="Bilde 29">
            <a:extLst>
              <a:ext uri="{FF2B5EF4-FFF2-40B4-BE49-F238E27FC236}">
                <a16:creationId xmlns:a16="http://schemas.microsoft.com/office/drawing/2014/main" id="{26850D4A-EE14-4BF7-9170-C941B7FA7A7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32606" y="1964114"/>
            <a:ext cx="438950" cy="426757"/>
          </a:xfrm>
          <a:prstGeom prst="rect">
            <a:avLst/>
          </a:prstGeom>
        </p:spPr>
      </p:pic>
      <p:grpSp>
        <p:nvGrpSpPr>
          <p:cNvPr id="45" name="Gruppe 44">
            <a:extLst>
              <a:ext uri="{FF2B5EF4-FFF2-40B4-BE49-F238E27FC236}">
                <a16:creationId xmlns:a16="http://schemas.microsoft.com/office/drawing/2014/main" id="{C3E34260-8BCA-453A-A0FA-FC154BD89862}"/>
              </a:ext>
            </a:extLst>
          </p:cNvPr>
          <p:cNvGrpSpPr/>
          <p:nvPr/>
        </p:nvGrpSpPr>
        <p:grpSpPr>
          <a:xfrm>
            <a:off x="7579375" y="4477374"/>
            <a:ext cx="1611859" cy="817191"/>
            <a:chOff x="8231386" y="4723860"/>
            <a:chExt cx="1611859" cy="817191"/>
          </a:xfrm>
        </p:grpSpPr>
        <p:sp>
          <p:nvSpPr>
            <p:cNvPr id="32" name="Rektangel: avrundede hjørner 31">
              <a:extLst>
                <a:ext uri="{FF2B5EF4-FFF2-40B4-BE49-F238E27FC236}">
                  <a16:creationId xmlns:a16="http://schemas.microsoft.com/office/drawing/2014/main" id="{C49580A8-94DE-4AD0-813D-C41629D03D03}"/>
                </a:ext>
              </a:extLst>
            </p:cNvPr>
            <p:cNvSpPr/>
            <p:nvPr/>
          </p:nvSpPr>
          <p:spPr>
            <a:xfrm>
              <a:off x="8231386" y="4723860"/>
              <a:ext cx="1611859" cy="81719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>
                  <a:solidFill>
                    <a:schemeClr val="tx1"/>
                  </a:solidFill>
                </a:rPr>
                <a:t>Faggruppe for informasjons-sikkerhet og personvern </a:t>
              </a:r>
            </a:p>
          </p:txBody>
        </p:sp>
        <p:pic>
          <p:nvPicPr>
            <p:cNvPr id="36" name="Bilde 35">
              <a:extLst>
                <a:ext uri="{FF2B5EF4-FFF2-40B4-BE49-F238E27FC236}">
                  <a16:creationId xmlns:a16="http://schemas.microsoft.com/office/drawing/2014/main" id="{406B980C-1EB2-4793-991B-FF39420357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266350" y="4771880"/>
              <a:ext cx="221708" cy="23820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0" name="Pil: femkant 39">
            <a:extLst>
              <a:ext uri="{FF2B5EF4-FFF2-40B4-BE49-F238E27FC236}">
                <a16:creationId xmlns:a16="http://schemas.microsoft.com/office/drawing/2014/main" id="{4E4F22E1-E874-4028-A8B7-1C9AE9130C18}"/>
              </a:ext>
            </a:extLst>
          </p:cNvPr>
          <p:cNvSpPr/>
          <p:nvPr/>
        </p:nvSpPr>
        <p:spPr>
          <a:xfrm>
            <a:off x="7077507" y="2670039"/>
            <a:ext cx="1817066" cy="591671"/>
          </a:xfrm>
          <a:prstGeom prst="homePlat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solidFill>
                  <a:schemeClr val="tx1"/>
                </a:solidFill>
              </a:rPr>
              <a:t>Verdikjedeanalyser</a:t>
            </a:r>
          </a:p>
        </p:txBody>
      </p:sp>
      <p:pic>
        <p:nvPicPr>
          <p:cNvPr id="43" name="Grafikk 42" descr="Klubbe med heldekkende fyll">
            <a:extLst>
              <a:ext uri="{FF2B5EF4-FFF2-40B4-BE49-F238E27FC236}">
                <a16:creationId xmlns:a16="http://schemas.microsoft.com/office/drawing/2014/main" id="{60BC7159-2A8F-4508-B6F1-5F86E9ADE67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46489" y="3501408"/>
            <a:ext cx="278184" cy="278184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B42A6F2C-4806-40B4-AB12-D033F7E7A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6059" y="3462987"/>
            <a:ext cx="1048909" cy="10489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F973C3E7-F62F-4A51-A15E-BEC2627FB0BB}"/>
              </a:ext>
            </a:extLst>
          </p:cNvPr>
          <p:cNvSpPr txBox="1"/>
          <p:nvPr/>
        </p:nvSpPr>
        <p:spPr>
          <a:xfrm>
            <a:off x="9427627" y="3017117"/>
            <a:ext cx="14244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/>
              <a:t>Sektornettverk</a:t>
            </a:r>
          </a:p>
        </p:txBody>
      </p:sp>
    </p:spTree>
    <p:extLst>
      <p:ext uri="{BB962C8B-B14F-4D97-AF65-F5344CB8AC3E}">
        <p14:creationId xmlns:p14="http://schemas.microsoft.com/office/powerpoint/2010/main" val="72135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D3E0C9-D7C0-4004-82E9-79FA9A277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AIR-prinsippene viktige for å sikre effektiv gjenbruk og </a:t>
            </a:r>
            <a:r>
              <a:rPr lang="nb-NO" err="1"/>
              <a:t>viderebruk</a:t>
            </a:r>
            <a:r>
              <a:rPr lang="nb-NO"/>
              <a:t> av data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4FA23CD9-BEAF-4F40-9FAA-136EBC6ED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219" y="1690688"/>
            <a:ext cx="9217620" cy="4317249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C77042F5-B827-4E22-9856-D70C16B38AC1}"/>
              </a:ext>
            </a:extLst>
          </p:cNvPr>
          <p:cNvSpPr txBox="1"/>
          <p:nvPr/>
        </p:nvSpPr>
        <p:spPr>
          <a:xfrm>
            <a:off x="1598274" y="6027003"/>
            <a:ext cx="94078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 i="1"/>
              <a:t>Kilde: Veileder for bruk av FAIR-prinsippene for helsedatakilder</a:t>
            </a:r>
          </a:p>
          <a:p>
            <a:r>
              <a:rPr lang="nb-NO" sz="1600" i="1"/>
              <a:t>(</a:t>
            </a:r>
            <a:r>
              <a:rPr lang="nb-NO" sz="1600" i="1">
                <a:hlinkClick r:id="rId4"/>
              </a:rPr>
              <a:t>https://www.ehelse.no/standardisering/standarder/veileder-for-bruk-av-FAIR-prinsippene-for-helsedatakilder</a:t>
            </a:r>
            <a:r>
              <a:rPr lang="nb-NO" sz="1600" i="1"/>
              <a:t>)</a:t>
            </a:r>
          </a:p>
          <a:p>
            <a:endParaRPr lang="nb-NO" sz="1600" i="1"/>
          </a:p>
        </p:txBody>
      </p:sp>
    </p:spTree>
    <p:extLst>
      <p:ext uri="{BB962C8B-B14F-4D97-AF65-F5344CB8AC3E}">
        <p14:creationId xmlns:p14="http://schemas.microsoft.com/office/powerpoint/2010/main" val="6326307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54EF4-7B0B-496C-897C-E628CEF81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90695"/>
            <a:ext cx="10647785" cy="1030510"/>
          </a:xfrm>
        </p:spPr>
        <p:txBody>
          <a:bodyPr/>
          <a:lstStyle/>
          <a:p>
            <a:r>
              <a:rPr lang="nb-NO"/>
              <a:t>Vi må bygge kompetanse for å bli et datadrevet samfu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DF8D76-169E-40B0-ABB7-D349E7ED37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257800" cy="4351338"/>
          </a:xfrm>
        </p:spPr>
        <p:txBody>
          <a:bodyPr/>
          <a:lstStyle/>
          <a:p>
            <a:r>
              <a:rPr lang="nb-NO"/>
              <a:t>Hvis KUDAF er et økosystem, hva er verdiforslaget til økosystemet?</a:t>
            </a:r>
          </a:p>
          <a:p>
            <a:endParaRPr lang="nb-NO"/>
          </a:p>
          <a:p>
            <a:pPr lvl="1"/>
            <a:r>
              <a:rPr lang="nb-NO" b="1"/>
              <a:t>Forbedre måloppnåelse gjennom innsikt fra egne og andres data</a:t>
            </a:r>
          </a:p>
          <a:p>
            <a:endParaRPr lang="nb-NO"/>
          </a:p>
          <a:p>
            <a:r>
              <a:rPr lang="nb-NO"/>
              <a:t>Hva må KUDAF bidra med for at konsumentene skal få den verdien de trenger?</a:t>
            </a:r>
          </a:p>
          <a:p>
            <a:r>
              <a:rPr lang="nb-NO"/>
              <a:t>Hva forventer vi at interessentene må kunne gjøre for at KUDAF skal være en suksess?</a:t>
            </a:r>
          </a:p>
          <a:p>
            <a:endParaRPr lang="nb-NO"/>
          </a:p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F23776-B76F-474F-B333-F977737E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7412D3-91E2-4935-8699-51B5B5256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25</a:t>
            </a:fld>
            <a:endParaRPr lang="nb-NO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A28FC266-CF7F-4D0D-93FD-E57D7E309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99106" y="16906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0FC122F1-0341-44E1-8CC1-BAA741125E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9106" y="2282604"/>
            <a:ext cx="5461965" cy="3179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469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tel 1">
            <a:extLst>
              <a:ext uri="{FF2B5EF4-FFF2-40B4-BE49-F238E27FC236}">
                <a16:creationId xmlns:a16="http://schemas.microsoft.com/office/drawing/2014/main" id="{FFA01300-FFFB-4E2F-8399-7ACF2234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5909"/>
            <a:ext cx="10515600" cy="874750"/>
          </a:xfrm>
        </p:spPr>
        <p:txBody>
          <a:bodyPr/>
          <a:lstStyle/>
          <a:p>
            <a:r>
              <a:rPr lang="nb-NO"/>
              <a:t>Vi må bygge kompetanse for å bli et datadrevet samfunn</a:t>
            </a:r>
            <a:endParaRPr lang="nb-NO" i="1"/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0A9A5FEE-B201-4BE3-BA55-6E9FFD2274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43788" y="1078029"/>
            <a:ext cx="9197041" cy="570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52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A69AD9-4D19-45EA-8B89-B8D2CCD71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877550" cy="1325563"/>
          </a:xfrm>
        </p:spPr>
        <p:txBody>
          <a:bodyPr/>
          <a:lstStyle/>
          <a:p>
            <a:r>
              <a:rPr lang="nb-NO"/>
              <a:t>Tilleggsgevinst med nasjonal harmonisering av mange evner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D38E560-F6D4-4C58-A406-C66CABE52B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Datasentrisk</a:t>
            </a:r>
          </a:p>
          <a:p>
            <a:pPr lvl="1"/>
            <a:r>
              <a:rPr lang="nb-NO"/>
              <a:t>Orden i eget hus</a:t>
            </a:r>
          </a:p>
          <a:p>
            <a:pPr lvl="1"/>
            <a:r>
              <a:rPr lang="nb-NO"/>
              <a:t>Begrepsarbeid</a:t>
            </a:r>
          </a:p>
          <a:p>
            <a:pPr lvl="1"/>
            <a:r>
              <a:rPr lang="nb-NO"/>
              <a:t>Tilgangsstyring og samtykke</a:t>
            </a:r>
          </a:p>
          <a:p>
            <a:pPr lvl="1"/>
            <a:r>
              <a:rPr lang="nb-NO"/>
              <a:t>Kjøretids gjenfinning og innhenting av data</a:t>
            </a:r>
          </a:p>
          <a:p>
            <a:pPr lvl="1"/>
            <a:r>
              <a:rPr lang="nb-NO">
                <a:solidFill>
                  <a:srgbClr val="C00000"/>
                </a:solidFill>
              </a:rPr>
              <a:t>Informasjonsforvaltning  i domener</a:t>
            </a:r>
          </a:p>
          <a:p>
            <a:r>
              <a:rPr lang="nb-NO"/>
              <a:t>Datadrevet</a:t>
            </a:r>
          </a:p>
          <a:p>
            <a:pPr lvl="1"/>
            <a:r>
              <a:rPr lang="nb-NO"/>
              <a:t>Bygge og bruke analyserbare dataprodukter</a:t>
            </a:r>
          </a:p>
          <a:p>
            <a:r>
              <a:rPr lang="nb-NO"/>
              <a:t>Datadrevne verdikjeder</a:t>
            </a:r>
          </a:p>
          <a:p>
            <a:pPr lvl="1"/>
            <a:r>
              <a:rPr lang="nb-NO"/>
              <a:t>Deltagelse i verdikjedearbeid</a:t>
            </a:r>
          </a:p>
          <a:p>
            <a:endParaRPr lang="nb-NO"/>
          </a:p>
          <a:p>
            <a:endParaRPr lang="en-US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3E40918-FF9E-4166-9374-AA4372671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5B8EC585-B27C-4F94-84A8-E95F465222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23956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e 3">
            <a:extLst>
              <a:ext uri="{FF2B5EF4-FFF2-40B4-BE49-F238E27FC236}">
                <a16:creationId xmlns:a16="http://schemas.microsoft.com/office/drawing/2014/main" id="{E5AD8692-4CF0-4865-8D46-E1C4C16F616F}"/>
              </a:ext>
            </a:extLst>
          </p:cNvPr>
          <p:cNvSpPr/>
          <p:nvPr/>
        </p:nvSpPr>
        <p:spPr>
          <a:xfrm>
            <a:off x="654258" y="1803361"/>
            <a:ext cx="7152433" cy="420624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4742675F-66BA-41F9-A277-B6A37FCEF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459916"/>
          </a:xfrm>
        </p:spPr>
        <p:txBody>
          <a:bodyPr>
            <a:normAutofit/>
          </a:bodyPr>
          <a:lstStyle/>
          <a:p>
            <a:r>
              <a:rPr lang="nb-NO" sz="2800"/>
              <a:t>Data og begreper forvaltes i domener</a:t>
            </a: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C3A9E71C-2DB7-47D2-9A8F-ABBADA9E54F3}"/>
              </a:ext>
            </a:extLst>
          </p:cNvPr>
          <p:cNvSpPr txBox="1"/>
          <p:nvPr/>
        </p:nvSpPr>
        <p:spPr>
          <a:xfrm>
            <a:off x="7806690" y="6338984"/>
            <a:ext cx="39751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400">
                <a:solidFill>
                  <a:schemeClr val="tx2"/>
                </a:solidFill>
              </a:rPr>
              <a:t>Fritt etter Data </a:t>
            </a:r>
            <a:r>
              <a:rPr lang="nb-NO" sz="1400" err="1">
                <a:solidFill>
                  <a:schemeClr val="tx2"/>
                </a:solidFill>
              </a:rPr>
              <a:t>Mesh</a:t>
            </a:r>
            <a:r>
              <a:rPr lang="nb-NO" sz="1400">
                <a:solidFill>
                  <a:schemeClr val="tx2"/>
                </a:solidFill>
              </a:rPr>
              <a:t> av </a:t>
            </a:r>
            <a:r>
              <a:rPr lang="nb-NO" sz="1400" err="1">
                <a:solidFill>
                  <a:schemeClr val="tx2"/>
                </a:solidFill>
              </a:rPr>
              <a:t>Zhamak</a:t>
            </a:r>
            <a:r>
              <a:rPr lang="nb-NO" sz="1400">
                <a:solidFill>
                  <a:schemeClr val="tx2"/>
                </a:solidFill>
              </a:rPr>
              <a:t> </a:t>
            </a:r>
            <a:r>
              <a:rPr lang="nb-NO" sz="1400" err="1">
                <a:solidFill>
                  <a:schemeClr val="tx2"/>
                </a:solidFill>
              </a:rPr>
              <a:t>Dehghani</a:t>
            </a:r>
            <a:r>
              <a:rPr lang="nb-NO" sz="1400">
                <a:solidFill>
                  <a:schemeClr val="tx2"/>
                </a:solidFill>
              </a:rPr>
              <a:t> og  Enterprise Architecture as </a:t>
            </a:r>
            <a:r>
              <a:rPr lang="nb-NO" sz="1400" err="1">
                <a:solidFill>
                  <a:schemeClr val="tx2"/>
                </a:solidFill>
              </a:rPr>
              <a:t>Strategy</a:t>
            </a:r>
            <a:r>
              <a:rPr lang="nb-NO" sz="1400">
                <a:solidFill>
                  <a:schemeClr val="tx2"/>
                </a:solidFill>
              </a:rPr>
              <a:t> av Ross et. al.</a:t>
            </a:r>
          </a:p>
        </p:txBody>
      </p:sp>
      <p:sp>
        <p:nvSpPr>
          <p:cNvPr id="23" name="Plassholder for innhold 7">
            <a:extLst>
              <a:ext uri="{FF2B5EF4-FFF2-40B4-BE49-F238E27FC236}">
                <a16:creationId xmlns:a16="http://schemas.microsoft.com/office/drawing/2014/main" id="{2D650FE4-4FFD-4E62-9EDD-055A1FBDB07A}"/>
              </a:ext>
            </a:extLst>
          </p:cNvPr>
          <p:cNvSpPr txBox="1">
            <a:spLocks/>
          </p:cNvSpPr>
          <p:nvPr/>
        </p:nvSpPr>
        <p:spPr>
          <a:xfrm>
            <a:off x="7990633" y="2208283"/>
            <a:ext cx="3975123" cy="34994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84" indent="-171484" algn="l" defTabSz="914446" rtl="0" eaLnBrk="1" latinLnBrk="0" hangingPunct="1">
              <a:lnSpc>
                <a:spcPct val="125000"/>
              </a:lnSpc>
              <a:spcBef>
                <a:spcPts val="14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200"/>
              <a:t>Grunnleggende domener</a:t>
            </a:r>
          </a:p>
          <a:p>
            <a:pPr lvl="1"/>
            <a:r>
              <a:rPr lang="nb-NO" sz="2200"/>
              <a:t>Støtter sentrale virksomhetsprosesser</a:t>
            </a:r>
          </a:p>
          <a:p>
            <a:pPr lvl="1"/>
            <a:r>
              <a:rPr lang="nb-NO" sz="2200"/>
              <a:t>Masterdatakilder</a:t>
            </a:r>
          </a:p>
          <a:p>
            <a:r>
              <a:rPr lang="nb-NO" sz="2200"/>
              <a:t>Brukernære domener</a:t>
            </a:r>
          </a:p>
          <a:p>
            <a:pPr lvl="1"/>
            <a:r>
              <a:rPr lang="nb-NO" sz="2200"/>
              <a:t>Spesifikke og skreddersydde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3684BF32-4FDC-417F-83A6-44F449415F7D}"/>
              </a:ext>
            </a:extLst>
          </p:cNvPr>
          <p:cNvSpPr/>
          <p:nvPr/>
        </p:nvSpPr>
        <p:spPr>
          <a:xfrm>
            <a:off x="2380850" y="2411730"/>
            <a:ext cx="1173880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Forsknings-forvalting og prioritering</a:t>
            </a:r>
            <a:endParaRPr lang="en-US" sz="1000"/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4E2D6B80-5F9E-46F7-B956-CD044025C27D}"/>
              </a:ext>
            </a:extLst>
          </p:cNvPr>
          <p:cNvSpPr/>
          <p:nvPr/>
        </p:nvSpPr>
        <p:spPr>
          <a:xfrm>
            <a:off x="5185699" y="2587288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Individuelt tilpasset læring</a:t>
            </a:r>
            <a:endParaRPr lang="en-US" sz="1000"/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FA01477E-52C4-4272-BD02-38A2139FB5D8}"/>
              </a:ext>
            </a:extLst>
          </p:cNvPr>
          <p:cNvSpPr/>
          <p:nvPr/>
        </p:nvSpPr>
        <p:spPr>
          <a:xfrm>
            <a:off x="1112918" y="3009304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Kommune-administrasjon</a:t>
            </a:r>
            <a:endParaRPr lang="en-US" sz="1000"/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138445D4-38BB-40CB-9BDA-BD95B510EC98}"/>
              </a:ext>
            </a:extLst>
          </p:cNvPr>
          <p:cNvSpPr/>
          <p:nvPr/>
        </p:nvSpPr>
        <p:spPr>
          <a:xfrm>
            <a:off x="5213674" y="4030682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Utdanning</a:t>
            </a:r>
            <a:endParaRPr lang="en-US" sz="1000"/>
          </a:p>
        </p:txBody>
      </p:sp>
      <p:sp>
        <p:nvSpPr>
          <p:cNvPr id="12" name="Rektangel: avrundede hjørner 11">
            <a:extLst>
              <a:ext uri="{FF2B5EF4-FFF2-40B4-BE49-F238E27FC236}">
                <a16:creationId xmlns:a16="http://schemas.microsoft.com/office/drawing/2014/main" id="{6095CC04-9533-461C-B482-EFECB697FECA}"/>
              </a:ext>
            </a:extLst>
          </p:cNvPr>
          <p:cNvSpPr/>
          <p:nvPr/>
        </p:nvSpPr>
        <p:spPr>
          <a:xfrm>
            <a:off x="5227009" y="4794587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Offentlig debatt</a:t>
            </a:r>
            <a:endParaRPr lang="en-US" sz="1000"/>
          </a:p>
        </p:txBody>
      </p:sp>
      <p:sp>
        <p:nvSpPr>
          <p:cNvPr id="13" name="Rektangel: avrundede hjørner 12">
            <a:extLst>
              <a:ext uri="{FF2B5EF4-FFF2-40B4-BE49-F238E27FC236}">
                <a16:creationId xmlns:a16="http://schemas.microsoft.com/office/drawing/2014/main" id="{8A0F1A01-844B-4983-8698-F09EE719A09E}"/>
              </a:ext>
            </a:extLst>
          </p:cNvPr>
          <p:cNvSpPr/>
          <p:nvPr/>
        </p:nvSpPr>
        <p:spPr>
          <a:xfrm>
            <a:off x="5192719" y="3317915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Forskning</a:t>
            </a:r>
            <a:endParaRPr lang="en-US" sz="1000"/>
          </a:p>
        </p:txBody>
      </p:sp>
      <p:sp>
        <p:nvSpPr>
          <p:cNvPr id="14" name="Rektangel: avrundede hjørner 13">
            <a:extLst>
              <a:ext uri="{FF2B5EF4-FFF2-40B4-BE49-F238E27FC236}">
                <a16:creationId xmlns:a16="http://schemas.microsoft.com/office/drawing/2014/main" id="{B82E0696-3ABF-4139-9C8E-95C4183AC3A0}"/>
              </a:ext>
            </a:extLst>
          </p:cNvPr>
          <p:cNvSpPr/>
          <p:nvPr/>
        </p:nvSpPr>
        <p:spPr>
          <a:xfrm>
            <a:off x="2403822" y="5063155"/>
            <a:ext cx="1165062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Studie-administrasjon</a:t>
            </a:r>
            <a:endParaRPr lang="en-US" sz="1000"/>
          </a:p>
        </p:txBody>
      </p:sp>
      <p:sp>
        <p:nvSpPr>
          <p:cNvPr id="15" name="Rektangel: avrundede hjørner 14">
            <a:extLst>
              <a:ext uri="{FF2B5EF4-FFF2-40B4-BE49-F238E27FC236}">
                <a16:creationId xmlns:a16="http://schemas.microsoft.com/office/drawing/2014/main" id="{4876BE08-8CA3-4AEF-BCCE-BC435EF0C8E7}"/>
              </a:ext>
            </a:extLst>
          </p:cNvPr>
          <p:cNvSpPr/>
          <p:nvPr/>
        </p:nvSpPr>
        <p:spPr>
          <a:xfrm>
            <a:off x="1112917" y="3677881"/>
            <a:ext cx="1165063" cy="458431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Integrerings-administrasjon</a:t>
            </a:r>
            <a:endParaRPr lang="en-US" sz="1000"/>
          </a:p>
        </p:txBody>
      </p:sp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D14F069E-E211-4409-8D0F-5299AC374E89}"/>
              </a:ext>
            </a:extLst>
          </p:cNvPr>
          <p:cNvSpPr/>
          <p:nvPr/>
        </p:nvSpPr>
        <p:spPr>
          <a:xfrm>
            <a:off x="1124459" y="4279110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err="1"/>
              <a:t>Admin</a:t>
            </a:r>
            <a:r>
              <a:rPr lang="nb-NO" sz="1000"/>
              <a:t> i skole og barnehage</a:t>
            </a:r>
            <a:endParaRPr lang="en-US" sz="1000"/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5B2FEEE9-52B8-48DC-9C0B-A30DDFA9E363}"/>
              </a:ext>
            </a:extLst>
          </p:cNvPr>
          <p:cNvCxnSpPr>
            <a:cxnSpLocks/>
          </p:cNvCxnSpPr>
          <p:nvPr/>
        </p:nvCxnSpPr>
        <p:spPr>
          <a:xfrm>
            <a:off x="4011930" y="1577340"/>
            <a:ext cx="0" cy="4761644"/>
          </a:xfrm>
          <a:prstGeom prst="line">
            <a:avLst/>
          </a:prstGeom>
          <a:ln w="19050">
            <a:solidFill>
              <a:srgbClr val="00707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CAAADE5C-D009-424B-A42B-608E1945823C}"/>
              </a:ext>
            </a:extLst>
          </p:cNvPr>
          <p:cNvSpPr/>
          <p:nvPr/>
        </p:nvSpPr>
        <p:spPr>
          <a:xfrm>
            <a:off x="6398054" y="3215045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Integrasjon</a:t>
            </a:r>
            <a:endParaRPr lang="en-US" sz="1000"/>
          </a:p>
        </p:txBody>
      </p:sp>
      <p:sp>
        <p:nvSpPr>
          <p:cNvPr id="25" name="Rektangel: avrundede hjørner 24">
            <a:extLst>
              <a:ext uri="{FF2B5EF4-FFF2-40B4-BE49-F238E27FC236}">
                <a16:creationId xmlns:a16="http://schemas.microsoft.com/office/drawing/2014/main" id="{77F28CCD-CBD4-490B-836E-C908F6F0E164}"/>
              </a:ext>
            </a:extLst>
          </p:cNvPr>
          <p:cNvSpPr/>
          <p:nvPr/>
        </p:nvSpPr>
        <p:spPr>
          <a:xfrm>
            <a:off x="6443774" y="4163734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Barnehage</a:t>
            </a:r>
            <a:endParaRPr lang="en-US" sz="1000"/>
          </a:p>
        </p:txBody>
      </p:sp>
      <p:sp>
        <p:nvSpPr>
          <p:cNvPr id="20" name="Pil: høyre 19">
            <a:extLst>
              <a:ext uri="{FF2B5EF4-FFF2-40B4-BE49-F238E27FC236}">
                <a16:creationId xmlns:a16="http://schemas.microsoft.com/office/drawing/2014/main" id="{92F4F4BF-054A-4E8D-8367-39471C9F287B}"/>
              </a:ext>
            </a:extLst>
          </p:cNvPr>
          <p:cNvSpPr/>
          <p:nvPr/>
        </p:nvSpPr>
        <p:spPr>
          <a:xfrm>
            <a:off x="3500344" y="3408065"/>
            <a:ext cx="1508759" cy="1168439"/>
          </a:xfrm>
          <a:prstGeom prst="rightArrow">
            <a:avLst>
              <a:gd name="adj1" fmla="val 22610"/>
              <a:gd name="adj2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A637188-12C3-4B8A-B0E7-B12136D08BCF}"/>
              </a:ext>
            </a:extLst>
          </p:cNvPr>
          <p:cNvSpPr txBox="1"/>
          <p:nvPr/>
        </p:nvSpPr>
        <p:spPr>
          <a:xfrm>
            <a:off x="358140" y="1394460"/>
            <a:ext cx="34129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/>
              <a:t>Eksempler på grunnleggende domener</a:t>
            </a:r>
            <a:endParaRPr lang="en-US" sz="1600"/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6C90DB09-FDD4-42DE-ABEB-4CC325D61DDE}"/>
              </a:ext>
            </a:extLst>
          </p:cNvPr>
          <p:cNvSpPr txBox="1"/>
          <p:nvPr/>
        </p:nvSpPr>
        <p:spPr>
          <a:xfrm>
            <a:off x="4208078" y="1389490"/>
            <a:ext cx="25724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/>
              <a:t>Eksempler på bruksdomener</a:t>
            </a:r>
            <a:endParaRPr lang="en-US" sz="1600"/>
          </a:p>
        </p:txBody>
      </p:sp>
      <p:sp>
        <p:nvSpPr>
          <p:cNvPr id="29" name="Rektangel: avrundede hjørner 28">
            <a:extLst>
              <a:ext uri="{FF2B5EF4-FFF2-40B4-BE49-F238E27FC236}">
                <a16:creationId xmlns:a16="http://schemas.microsoft.com/office/drawing/2014/main" id="{BA954132-A1CE-4BCD-982E-E1B5C840185E}"/>
              </a:ext>
            </a:extLst>
          </p:cNvPr>
          <p:cNvSpPr/>
          <p:nvPr/>
        </p:nvSpPr>
        <p:spPr>
          <a:xfrm>
            <a:off x="2439307" y="4268807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err="1"/>
              <a:t>Admin</a:t>
            </a:r>
            <a:r>
              <a:rPr lang="nb-NO" sz="1000"/>
              <a:t> i videregående opplæring</a:t>
            </a:r>
            <a:endParaRPr lang="en-US" sz="1000"/>
          </a:p>
        </p:txBody>
      </p:sp>
      <p:sp>
        <p:nvSpPr>
          <p:cNvPr id="30" name="Rektangel: avrundede hjørner 29">
            <a:extLst>
              <a:ext uri="{FF2B5EF4-FFF2-40B4-BE49-F238E27FC236}">
                <a16:creationId xmlns:a16="http://schemas.microsoft.com/office/drawing/2014/main" id="{AC062E59-60D0-4E74-A2FE-4FF6458C231A}"/>
              </a:ext>
            </a:extLst>
          </p:cNvPr>
          <p:cNvSpPr/>
          <p:nvPr/>
        </p:nvSpPr>
        <p:spPr>
          <a:xfrm>
            <a:off x="2452244" y="3093819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Direktorats-administrasjon</a:t>
            </a:r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537507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e 3">
            <a:extLst>
              <a:ext uri="{FF2B5EF4-FFF2-40B4-BE49-F238E27FC236}">
                <a16:creationId xmlns:a16="http://schemas.microsoft.com/office/drawing/2014/main" id="{E5AD8692-4CF0-4865-8D46-E1C4C16F616F}"/>
              </a:ext>
            </a:extLst>
          </p:cNvPr>
          <p:cNvSpPr/>
          <p:nvPr/>
        </p:nvSpPr>
        <p:spPr>
          <a:xfrm>
            <a:off x="654258" y="1803361"/>
            <a:ext cx="7152433" cy="420624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4742675F-66BA-41F9-A277-B6A37FCEF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459916"/>
          </a:xfrm>
        </p:spPr>
        <p:txBody>
          <a:bodyPr>
            <a:normAutofit/>
          </a:bodyPr>
          <a:lstStyle/>
          <a:p>
            <a:r>
              <a:rPr lang="nb-NO" sz="2800"/>
              <a:t>Data og begreper forvaltes i domener</a:t>
            </a: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C3A9E71C-2DB7-47D2-9A8F-ABBADA9E54F3}"/>
              </a:ext>
            </a:extLst>
          </p:cNvPr>
          <p:cNvSpPr txBox="1"/>
          <p:nvPr/>
        </p:nvSpPr>
        <p:spPr>
          <a:xfrm>
            <a:off x="7806690" y="6338984"/>
            <a:ext cx="39751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400">
                <a:solidFill>
                  <a:schemeClr val="tx2"/>
                </a:solidFill>
              </a:rPr>
              <a:t>Fritt etter Data </a:t>
            </a:r>
            <a:r>
              <a:rPr lang="nb-NO" sz="1400" err="1">
                <a:solidFill>
                  <a:schemeClr val="tx2"/>
                </a:solidFill>
              </a:rPr>
              <a:t>Mesh</a:t>
            </a:r>
            <a:r>
              <a:rPr lang="nb-NO" sz="1400">
                <a:solidFill>
                  <a:schemeClr val="tx2"/>
                </a:solidFill>
              </a:rPr>
              <a:t> av </a:t>
            </a:r>
            <a:r>
              <a:rPr lang="nb-NO" sz="1400" err="1">
                <a:solidFill>
                  <a:schemeClr val="tx2"/>
                </a:solidFill>
              </a:rPr>
              <a:t>Zhamak</a:t>
            </a:r>
            <a:r>
              <a:rPr lang="nb-NO" sz="1400">
                <a:solidFill>
                  <a:schemeClr val="tx2"/>
                </a:solidFill>
              </a:rPr>
              <a:t> </a:t>
            </a:r>
            <a:r>
              <a:rPr lang="nb-NO" sz="1400" err="1">
                <a:solidFill>
                  <a:schemeClr val="tx2"/>
                </a:solidFill>
              </a:rPr>
              <a:t>Dehghani</a:t>
            </a:r>
            <a:r>
              <a:rPr lang="nb-NO" sz="1400">
                <a:solidFill>
                  <a:schemeClr val="tx2"/>
                </a:solidFill>
              </a:rPr>
              <a:t> og  Enterprise Architecture as </a:t>
            </a:r>
            <a:r>
              <a:rPr lang="nb-NO" sz="1400" err="1">
                <a:solidFill>
                  <a:schemeClr val="tx2"/>
                </a:solidFill>
              </a:rPr>
              <a:t>Strategy</a:t>
            </a:r>
            <a:r>
              <a:rPr lang="nb-NO" sz="1400">
                <a:solidFill>
                  <a:schemeClr val="tx2"/>
                </a:solidFill>
              </a:rPr>
              <a:t> av Ross et. al.</a:t>
            </a:r>
          </a:p>
        </p:txBody>
      </p:sp>
      <p:sp>
        <p:nvSpPr>
          <p:cNvPr id="23" name="Plassholder for innhold 7">
            <a:extLst>
              <a:ext uri="{FF2B5EF4-FFF2-40B4-BE49-F238E27FC236}">
                <a16:creationId xmlns:a16="http://schemas.microsoft.com/office/drawing/2014/main" id="{2D650FE4-4FFD-4E62-9EDD-055A1FBDB07A}"/>
              </a:ext>
            </a:extLst>
          </p:cNvPr>
          <p:cNvSpPr txBox="1">
            <a:spLocks/>
          </p:cNvSpPr>
          <p:nvPr/>
        </p:nvSpPr>
        <p:spPr>
          <a:xfrm>
            <a:off x="7990633" y="2208283"/>
            <a:ext cx="3975123" cy="34994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84" indent="-171484" algn="l" defTabSz="914446" rtl="0" eaLnBrk="1" latinLnBrk="0" hangingPunct="1">
              <a:lnSpc>
                <a:spcPct val="125000"/>
              </a:lnSpc>
              <a:spcBef>
                <a:spcPts val="14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200"/>
              <a:t>Grunnleggende domener</a:t>
            </a:r>
          </a:p>
          <a:p>
            <a:pPr lvl="1"/>
            <a:r>
              <a:rPr lang="nb-NO" sz="2200"/>
              <a:t>Støtter sentrale virksomhetsprosesser</a:t>
            </a:r>
          </a:p>
          <a:p>
            <a:pPr lvl="1"/>
            <a:r>
              <a:rPr lang="nb-NO" sz="2200"/>
              <a:t>Masterdatakilder</a:t>
            </a:r>
          </a:p>
          <a:p>
            <a:r>
              <a:rPr lang="nb-NO" sz="2200"/>
              <a:t>Brukernære domener</a:t>
            </a:r>
          </a:p>
          <a:p>
            <a:pPr lvl="1"/>
            <a:r>
              <a:rPr lang="nb-NO" sz="2200"/>
              <a:t>Spesifikke og skreddersydde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3684BF32-4FDC-417F-83A6-44F449415F7D}"/>
              </a:ext>
            </a:extLst>
          </p:cNvPr>
          <p:cNvSpPr/>
          <p:nvPr/>
        </p:nvSpPr>
        <p:spPr>
          <a:xfrm>
            <a:off x="2380850" y="2411730"/>
            <a:ext cx="1173880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Forsknings-forvalting og prioritering</a:t>
            </a:r>
            <a:endParaRPr lang="en-US" sz="1000"/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4E2D6B80-5F9E-46F7-B956-CD044025C27D}"/>
              </a:ext>
            </a:extLst>
          </p:cNvPr>
          <p:cNvSpPr/>
          <p:nvPr/>
        </p:nvSpPr>
        <p:spPr>
          <a:xfrm>
            <a:off x="5185699" y="2587288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Individuelt tilpasset læring</a:t>
            </a:r>
            <a:endParaRPr lang="en-US" sz="1000"/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FA01477E-52C4-4272-BD02-38A2139FB5D8}"/>
              </a:ext>
            </a:extLst>
          </p:cNvPr>
          <p:cNvSpPr/>
          <p:nvPr/>
        </p:nvSpPr>
        <p:spPr>
          <a:xfrm>
            <a:off x="1112918" y="3009304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Kommune-administrasjon</a:t>
            </a:r>
            <a:endParaRPr lang="en-US" sz="1000"/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138445D4-38BB-40CB-9BDA-BD95B510EC98}"/>
              </a:ext>
            </a:extLst>
          </p:cNvPr>
          <p:cNvSpPr/>
          <p:nvPr/>
        </p:nvSpPr>
        <p:spPr>
          <a:xfrm>
            <a:off x="5213674" y="4030682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Utdanning</a:t>
            </a:r>
            <a:endParaRPr lang="en-US" sz="1000"/>
          </a:p>
        </p:txBody>
      </p:sp>
      <p:sp>
        <p:nvSpPr>
          <p:cNvPr id="12" name="Rektangel: avrundede hjørner 11">
            <a:extLst>
              <a:ext uri="{FF2B5EF4-FFF2-40B4-BE49-F238E27FC236}">
                <a16:creationId xmlns:a16="http://schemas.microsoft.com/office/drawing/2014/main" id="{6095CC04-9533-461C-B482-EFECB697FECA}"/>
              </a:ext>
            </a:extLst>
          </p:cNvPr>
          <p:cNvSpPr/>
          <p:nvPr/>
        </p:nvSpPr>
        <p:spPr>
          <a:xfrm>
            <a:off x="5227009" y="4794587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Offentlig debatt</a:t>
            </a:r>
            <a:endParaRPr lang="en-US" sz="1000"/>
          </a:p>
        </p:txBody>
      </p:sp>
      <p:sp>
        <p:nvSpPr>
          <p:cNvPr id="13" name="Rektangel: avrundede hjørner 12">
            <a:extLst>
              <a:ext uri="{FF2B5EF4-FFF2-40B4-BE49-F238E27FC236}">
                <a16:creationId xmlns:a16="http://schemas.microsoft.com/office/drawing/2014/main" id="{8A0F1A01-844B-4983-8698-F09EE719A09E}"/>
              </a:ext>
            </a:extLst>
          </p:cNvPr>
          <p:cNvSpPr/>
          <p:nvPr/>
        </p:nvSpPr>
        <p:spPr>
          <a:xfrm>
            <a:off x="5192719" y="3317915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Forskning</a:t>
            </a:r>
            <a:endParaRPr lang="en-US" sz="1000"/>
          </a:p>
        </p:txBody>
      </p:sp>
      <p:sp>
        <p:nvSpPr>
          <p:cNvPr id="14" name="Rektangel: avrundede hjørner 13">
            <a:extLst>
              <a:ext uri="{FF2B5EF4-FFF2-40B4-BE49-F238E27FC236}">
                <a16:creationId xmlns:a16="http://schemas.microsoft.com/office/drawing/2014/main" id="{B82E0696-3ABF-4139-9C8E-95C4183AC3A0}"/>
              </a:ext>
            </a:extLst>
          </p:cNvPr>
          <p:cNvSpPr/>
          <p:nvPr/>
        </p:nvSpPr>
        <p:spPr>
          <a:xfrm>
            <a:off x="2403822" y="5063155"/>
            <a:ext cx="1165062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Studie-administrasjon</a:t>
            </a:r>
            <a:endParaRPr lang="en-US" sz="1000"/>
          </a:p>
        </p:txBody>
      </p:sp>
      <p:sp>
        <p:nvSpPr>
          <p:cNvPr id="15" name="Rektangel: avrundede hjørner 14">
            <a:extLst>
              <a:ext uri="{FF2B5EF4-FFF2-40B4-BE49-F238E27FC236}">
                <a16:creationId xmlns:a16="http://schemas.microsoft.com/office/drawing/2014/main" id="{4876BE08-8CA3-4AEF-BCCE-BC435EF0C8E7}"/>
              </a:ext>
            </a:extLst>
          </p:cNvPr>
          <p:cNvSpPr/>
          <p:nvPr/>
        </p:nvSpPr>
        <p:spPr>
          <a:xfrm>
            <a:off x="1112917" y="3677881"/>
            <a:ext cx="1165063" cy="458431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Integrerings-administrasjon</a:t>
            </a:r>
            <a:endParaRPr lang="en-US" sz="1000"/>
          </a:p>
        </p:txBody>
      </p:sp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D14F069E-E211-4409-8D0F-5299AC374E89}"/>
              </a:ext>
            </a:extLst>
          </p:cNvPr>
          <p:cNvSpPr/>
          <p:nvPr/>
        </p:nvSpPr>
        <p:spPr>
          <a:xfrm>
            <a:off x="1124459" y="4279110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err="1"/>
              <a:t>Admin</a:t>
            </a:r>
            <a:r>
              <a:rPr lang="nb-NO" sz="1000"/>
              <a:t> i skole og barnehage</a:t>
            </a:r>
            <a:endParaRPr lang="en-US" sz="1000"/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5B2FEEE9-52B8-48DC-9C0B-A30DDFA9E363}"/>
              </a:ext>
            </a:extLst>
          </p:cNvPr>
          <p:cNvCxnSpPr>
            <a:cxnSpLocks/>
          </p:cNvCxnSpPr>
          <p:nvPr/>
        </p:nvCxnSpPr>
        <p:spPr>
          <a:xfrm>
            <a:off x="4011930" y="1577340"/>
            <a:ext cx="0" cy="4761644"/>
          </a:xfrm>
          <a:prstGeom prst="line">
            <a:avLst/>
          </a:prstGeom>
          <a:ln w="19050">
            <a:solidFill>
              <a:srgbClr val="00707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CAAADE5C-D009-424B-A42B-608E1945823C}"/>
              </a:ext>
            </a:extLst>
          </p:cNvPr>
          <p:cNvSpPr/>
          <p:nvPr/>
        </p:nvSpPr>
        <p:spPr>
          <a:xfrm>
            <a:off x="6398054" y="3215045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Integrasjon</a:t>
            </a:r>
            <a:endParaRPr lang="en-US" sz="1000"/>
          </a:p>
        </p:txBody>
      </p:sp>
      <p:sp>
        <p:nvSpPr>
          <p:cNvPr id="25" name="Rektangel: avrundede hjørner 24">
            <a:extLst>
              <a:ext uri="{FF2B5EF4-FFF2-40B4-BE49-F238E27FC236}">
                <a16:creationId xmlns:a16="http://schemas.microsoft.com/office/drawing/2014/main" id="{77F28CCD-CBD4-490B-836E-C908F6F0E164}"/>
              </a:ext>
            </a:extLst>
          </p:cNvPr>
          <p:cNvSpPr/>
          <p:nvPr/>
        </p:nvSpPr>
        <p:spPr>
          <a:xfrm>
            <a:off x="6443774" y="4163734"/>
            <a:ext cx="1040130" cy="525780"/>
          </a:xfrm>
          <a:prstGeom prst="roundRect">
            <a:avLst>
              <a:gd name="adj" fmla="val 50000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Barnehage</a:t>
            </a:r>
            <a:endParaRPr lang="en-US" sz="1000"/>
          </a:p>
        </p:txBody>
      </p:sp>
      <p:sp>
        <p:nvSpPr>
          <p:cNvPr id="20" name="Pil: høyre 19">
            <a:extLst>
              <a:ext uri="{FF2B5EF4-FFF2-40B4-BE49-F238E27FC236}">
                <a16:creationId xmlns:a16="http://schemas.microsoft.com/office/drawing/2014/main" id="{92F4F4BF-054A-4E8D-8367-39471C9F287B}"/>
              </a:ext>
            </a:extLst>
          </p:cNvPr>
          <p:cNvSpPr/>
          <p:nvPr/>
        </p:nvSpPr>
        <p:spPr>
          <a:xfrm>
            <a:off x="3500344" y="3408065"/>
            <a:ext cx="1508759" cy="1168439"/>
          </a:xfrm>
          <a:prstGeom prst="rightArrow">
            <a:avLst>
              <a:gd name="adj1" fmla="val 22610"/>
              <a:gd name="adj2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A637188-12C3-4B8A-B0E7-B12136D08BCF}"/>
              </a:ext>
            </a:extLst>
          </p:cNvPr>
          <p:cNvSpPr txBox="1"/>
          <p:nvPr/>
        </p:nvSpPr>
        <p:spPr>
          <a:xfrm>
            <a:off x="358140" y="1394460"/>
            <a:ext cx="34129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/>
              <a:t>Eksempler på grunnleggende domener</a:t>
            </a:r>
            <a:endParaRPr lang="en-US" sz="1600"/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6C90DB09-FDD4-42DE-ABEB-4CC325D61DDE}"/>
              </a:ext>
            </a:extLst>
          </p:cNvPr>
          <p:cNvSpPr txBox="1"/>
          <p:nvPr/>
        </p:nvSpPr>
        <p:spPr>
          <a:xfrm>
            <a:off x="4208078" y="1389490"/>
            <a:ext cx="25724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/>
              <a:t>Eksempler på bruksdomener</a:t>
            </a:r>
            <a:endParaRPr lang="en-US" sz="1600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30233FB-A531-4722-9A60-4758E0825F02}"/>
              </a:ext>
            </a:extLst>
          </p:cNvPr>
          <p:cNvSpPr/>
          <p:nvPr/>
        </p:nvSpPr>
        <p:spPr>
          <a:xfrm>
            <a:off x="2217421" y="4892675"/>
            <a:ext cx="1508759" cy="85628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29" name="Rektangel: avrundede hjørner 28">
            <a:extLst>
              <a:ext uri="{FF2B5EF4-FFF2-40B4-BE49-F238E27FC236}">
                <a16:creationId xmlns:a16="http://schemas.microsoft.com/office/drawing/2014/main" id="{BA954132-A1CE-4BCD-982E-E1B5C840185E}"/>
              </a:ext>
            </a:extLst>
          </p:cNvPr>
          <p:cNvSpPr/>
          <p:nvPr/>
        </p:nvSpPr>
        <p:spPr>
          <a:xfrm>
            <a:off x="2439307" y="4268807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err="1"/>
              <a:t>Admin</a:t>
            </a:r>
            <a:r>
              <a:rPr lang="nb-NO" sz="1000"/>
              <a:t> i videregående opplæring</a:t>
            </a:r>
            <a:endParaRPr lang="en-US" sz="1000"/>
          </a:p>
        </p:txBody>
      </p:sp>
      <p:sp>
        <p:nvSpPr>
          <p:cNvPr id="30" name="Rektangel: avrundede hjørner 29">
            <a:extLst>
              <a:ext uri="{FF2B5EF4-FFF2-40B4-BE49-F238E27FC236}">
                <a16:creationId xmlns:a16="http://schemas.microsoft.com/office/drawing/2014/main" id="{AC062E59-60D0-4E74-A2FE-4FF6458C231A}"/>
              </a:ext>
            </a:extLst>
          </p:cNvPr>
          <p:cNvSpPr/>
          <p:nvPr/>
        </p:nvSpPr>
        <p:spPr>
          <a:xfrm>
            <a:off x="2452244" y="3093819"/>
            <a:ext cx="1165063" cy="525780"/>
          </a:xfrm>
          <a:prstGeom prst="roundRect">
            <a:avLst>
              <a:gd name="adj" fmla="val 50000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/>
              <a:t>Direktorats-administrasjon</a:t>
            </a:r>
            <a:endParaRPr lang="en-US" sz="100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CE7764D5-845F-4100-A630-32425AFC28DA}"/>
              </a:ext>
            </a:extLst>
          </p:cNvPr>
          <p:cNvSpPr/>
          <p:nvPr/>
        </p:nvSpPr>
        <p:spPr>
          <a:xfrm>
            <a:off x="4907281" y="3170555"/>
            <a:ext cx="1508759" cy="85628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FF0000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859613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DBF6E4A-91E5-4C2F-8C41-5F71718B6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UDAF - Bakgrunn og historikk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DB0F74A-B128-49E4-B409-3774C99D35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48147" y="1318340"/>
            <a:ext cx="6809830" cy="5151616"/>
          </a:xfrm>
        </p:spPr>
        <p:txBody>
          <a:bodyPr>
            <a:noAutofit/>
          </a:bodyPr>
          <a:lstStyle/>
          <a:p>
            <a:r>
              <a:rPr lang="nb-NO" sz="1700"/>
              <a:t>Kunnskapsdepartementet (KD) har over flere år hatt en ambisjon om at arbeidet i departementet, direktoratene og i sektorene departementet har ansvar for skal være kunnskapsbasert.</a:t>
            </a:r>
          </a:p>
          <a:p>
            <a:r>
              <a:rPr lang="nb-NO" sz="1700"/>
              <a:t>Det har siden 2017 pågått arbeid initiert og finansiert av KD knyttet til å utrede og planlegge hva som skal til for å oppnå denne ambisjonen:</a:t>
            </a:r>
          </a:p>
          <a:p>
            <a:pPr lvl="1"/>
            <a:r>
              <a:rPr lang="nb-NO" sz="1700"/>
              <a:t>Høsten 2017 – vår 2018: Sektorintern arbeidsgruppe nedsatt av KD for å gi råd om videre utvikling av systemet for kunnskap innenfor Kunnskapsdepartementets sektoransvar.</a:t>
            </a:r>
          </a:p>
          <a:p>
            <a:pPr lvl="1"/>
            <a:r>
              <a:rPr lang="nb-NO" sz="1700"/>
              <a:t>Høst 2018 – januar 2020: Unit gjennomfører konseptvalgutredning av fremtidig infrastruktur for deling av data i kunnskapssektoren</a:t>
            </a:r>
          </a:p>
          <a:p>
            <a:pPr lvl="1"/>
            <a:r>
              <a:rPr lang="nb-NO" sz="1700"/>
              <a:t>Mai 2020 – oktober 2021: Unit får oppdraget med å følge opp anbefalingene fra konseptvalgutredingen, gjennom et forprosjekt for å planlegge gjennomføring. Oppdraget overført til HK-dir fra 1. juli 2021.</a:t>
            </a:r>
          </a:p>
          <a:p>
            <a:pPr lvl="1"/>
            <a:r>
              <a:rPr lang="nb-NO" sz="1700"/>
              <a:t>2022 – 2025: Program for realisering basert på årlige tildelinger med basis i årlige faseplaner.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1352E7A4-2F55-46BD-A690-24248145B0F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077200" y="6356350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EA58B0A-D441-4F6F-9F47-256B9D63616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15725" y="6356350"/>
            <a:ext cx="67627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49AB0-D5ED-A840-B00D-59CC129EA27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16605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>
            <a:extLst>
              <a:ext uri="{FF2B5EF4-FFF2-40B4-BE49-F238E27FC236}">
                <a16:creationId xmlns:a16="http://schemas.microsoft.com/office/drawing/2014/main" id="{4742675F-66BA-41F9-A277-B6A37FCEF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37083"/>
          </a:xfrm>
        </p:spPr>
        <p:txBody>
          <a:bodyPr>
            <a:normAutofit/>
          </a:bodyPr>
          <a:lstStyle/>
          <a:p>
            <a:r>
              <a:rPr lang="nb-NO" sz="2800"/>
              <a:t>Administrative domener omfatter et fagområde gjerne hos mange institusjoner</a:t>
            </a:r>
          </a:p>
        </p:txBody>
      </p:sp>
      <p:sp>
        <p:nvSpPr>
          <p:cNvPr id="23" name="Plassholder for innhold 7">
            <a:extLst>
              <a:ext uri="{FF2B5EF4-FFF2-40B4-BE49-F238E27FC236}">
                <a16:creationId xmlns:a16="http://schemas.microsoft.com/office/drawing/2014/main" id="{2D650FE4-4FFD-4E62-9EDD-055A1FBDB07A}"/>
              </a:ext>
            </a:extLst>
          </p:cNvPr>
          <p:cNvSpPr txBox="1">
            <a:spLocks/>
          </p:cNvSpPr>
          <p:nvPr/>
        </p:nvSpPr>
        <p:spPr>
          <a:xfrm>
            <a:off x="7077557" y="1386047"/>
            <a:ext cx="4349242" cy="53753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84" indent="-171484" algn="l" defTabSz="914446" rtl="0" eaLnBrk="1" latinLnBrk="0" hangingPunct="1">
              <a:lnSpc>
                <a:spcPct val="125000"/>
              </a:lnSpc>
              <a:spcBef>
                <a:spcPts val="14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200"/>
              <a:t>Ønsker å standardisere administrative prosesser</a:t>
            </a:r>
          </a:p>
          <a:p>
            <a:pPr lvl="1"/>
            <a:r>
              <a:rPr lang="nb-NO" sz="2200"/>
              <a:t>Felles begreper</a:t>
            </a:r>
          </a:p>
          <a:p>
            <a:pPr lvl="1"/>
            <a:r>
              <a:rPr lang="nb-NO" sz="2200"/>
              <a:t>Felles datamodeller</a:t>
            </a:r>
          </a:p>
          <a:p>
            <a:r>
              <a:rPr lang="nb-NO" sz="2200"/>
              <a:t>Felles skjema, ofte institusjonslokale datalager</a:t>
            </a:r>
          </a:p>
          <a:p>
            <a:r>
              <a:rPr lang="nb-NO" sz="2200"/>
              <a:t>Vi vil at </a:t>
            </a:r>
            <a:r>
              <a:rPr lang="nb-NO" sz="2200" b="1" err="1"/>
              <a:t>domenen</a:t>
            </a:r>
            <a:r>
              <a:rPr lang="nb-NO" sz="2200"/>
              <a:t>, ikke virksomheten skal bestemme</a:t>
            </a:r>
          </a:p>
          <a:p>
            <a:pPr lvl="1"/>
            <a:r>
              <a:rPr lang="nb-NO" sz="2200"/>
              <a:t>Ønsker</a:t>
            </a:r>
            <a:r>
              <a:rPr lang="nb-NO" sz="2200" b="1"/>
              <a:t> en</a:t>
            </a:r>
            <a:r>
              <a:rPr lang="nb-NO" sz="2200"/>
              <a:t> registrering i datakatalog for et begrep innen </a:t>
            </a:r>
            <a:r>
              <a:rPr lang="nb-NO" sz="2200" err="1"/>
              <a:t>domenen</a:t>
            </a:r>
            <a:r>
              <a:rPr lang="nb-NO" sz="2200"/>
              <a:t> </a:t>
            </a:r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4CB33384-59E7-43CA-B839-B7B741C67CDE}"/>
              </a:ext>
            </a:extLst>
          </p:cNvPr>
          <p:cNvSpPr/>
          <p:nvPr/>
        </p:nvSpPr>
        <p:spPr>
          <a:xfrm>
            <a:off x="851842" y="1954898"/>
            <a:ext cx="5421346" cy="3966364"/>
          </a:xfrm>
          <a:prstGeom prst="roundRect">
            <a:avLst>
              <a:gd name="adj" fmla="val 45618"/>
            </a:avLst>
          </a:prstGeom>
          <a:solidFill>
            <a:srgbClr val="0070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DDC8011-22E6-4C97-9403-DA112C66107D}"/>
              </a:ext>
            </a:extLst>
          </p:cNvPr>
          <p:cNvSpPr txBox="1"/>
          <p:nvPr/>
        </p:nvSpPr>
        <p:spPr>
          <a:xfrm>
            <a:off x="2317284" y="2099559"/>
            <a:ext cx="2813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Studieadministrasjon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AE6A2E8C-A8A8-47EC-869F-CA53429C9B93}"/>
              </a:ext>
            </a:extLst>
          </p:cNvPr>
          <p:cNvSpPr txBox="1"/>
          <p:nvPr/>
        </p:nvSpPr>
        <p:spPr>
          <a:xfrm>
            <a:off x="1341338" y="3054970"/>
            <a:ext cx="57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UiO</a:t>
            </a:r>
            <a:endParaRPr lang="en-US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D9D3A892-1E60-429A-8B1B-1ABB89C4DB5E}"/>
              </a:ext>
            </a:extLst>
          </p:cNvPr>
          <p:cNvSpPr txBox="1"/>
          <p:nvPr/>
        </p:nvSpPr>
        <p:spPr>
          <a:xfrm>
            <a:off x="2398809" y="3239636"/>
            <a:ext cx="788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NTNU</a:t>
            </a:r>
            <a:endParaRPr lang="en-US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C6B556DA-59B2-42C5-B558-74EA5943620B}"/>
              </a:ext>
            </a:extLst>
          </p:cNvPr>
          <p:cNvSpPr txBox="1"/>
          <p:nvPr/>
        </p:nvSpPr>
        <p:spPr>
          <a:xfrm>
            <a:off x="3831049" y="2917561"/>
            <a:ext cx="5212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UiT</a:t>
            </a:r>
            <a:endParaRPr lang="en-US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479AEBE9-12B7-4147-9F0A-EFE5E2E8671A}"/>
              </a:ext>
            </a:extLst>
          </p:cNvPr>
          <p:cNvSpPr txBox="1"/>
          <p:nvPr/>
        </p:nvSpPr>
        <p:spPr>
          <a:xfrm>
            <a:off x="3542348" y="3825744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UiB</a:t>
            </a:r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4FDAA26-0E2C-4FE2-958E-F68DC3EC9E58}"/>
              </a:ext>
            </a:extLst>
          </p:cNvPr>
          <p:cNvSpPr txBox="1"/>
          <p:nvPr/>
        </p:nvSpPr>
        <p:spPr>
          <a:xfrm>
            <a:off x="1467657" y="4277019"/>
            <a:ext cx="5517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err="1"/>
              <a:t>UiA</a:t>
            </a:r>
            <a:endParaRPr lang="en-US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341AB8FB-6CDC-438F-8294-3D2145058F00}"/>
              </a:ext>
            </a:extLst>
          </p:cNvPr>
          <p:cNvSpPr txBox="1"/>
          <p:nvPr/>
        </p:nvSpPr>
        <p:spPr>
          <a:xfrm>
            <a:off x="4998401" y="3938080"/>
            <a:ext cx="599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HVL</a:t>
            </a:r>
            <a:endParaRPr lang="en-US"/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2939B465-C7BC-41BC-A7D2-60375882A4DE}"/>
              </a:ext>
            </a:extLst>
          </p:cNvPr>
          <p:cNvSpPr txBox="1"/>
          <p:nvPr/>
        </p:nvSpPr>
        <p:spPr>
          <a:xfrm>
            <a:off x="2524759" y="4461685"/>
            <a:ext cx="841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NMBU</a:t>
            </a:r>
            <a:endParaRPr lang="en-US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8B8DA61F-8BF6-4B96-89E8-B7CFBC33FC1B}"/>
              </a:ext>
            </a:extLst>
          </p:cNvPr>
          <p:cNvSpPr txBox="1"/>
          <p:nvPr/>
        </p:nvSpPr>
        <p:spPr>
          <a:xfrm>
            <a:off x="3087957" y="5286459"/>
            <a:ext cx="226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n god del flere…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851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>
            <a:extLst>
              <a:ext uri="{FF2B5EF4-FFF2-40B4-BE49-F238E27FC236}">
                <a16:creationId xmlns:a16="http://schemas.microsoft.com/office/drawing/2014/main" id="{4742675F-66BA-41F9-A277-B6A37FCEF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50506"/>
          </a:xfrm>
        </p:spPr>
        <p:txBody>
          <a:bodyPr>
            <a:normAutofit/>
          </a:bodyPr>
          <a:lstStyle/>
          <a:p>
            <a:r>
              <a:rPr lang="nb-NO" sz="2800"/>
              <a:t>Bruksdomener omfatter en brukskontekst, gjerne med flere virksomheter, også internasjonalt</a:t>
            </a:r>
          </a:p>
        </p:txBody>
      </p:sp>
      <p:sp>
        <p:nvSpPr>
          <p:cNvPr id="23" name="Plassholder for innhold 7">
            <a:extLst>
              <a:ext uri="{FF2B5EF4-FFF2-40B4-BE49-F238E27FC236}">
                <a16:creationId xmlns:a16="http://schemas.microsoft.com/office/drawing/2014/main" id="{2D650FE4-4FFD-4E62-9EDD-055A1FBDB07A}"/>
              </a:ext>
            </a:extLst>
          </p:cNvPr>
          <p:cNvSpPr txBox="1">
            <a:spLocks/>
          </p:cNvSpPr>
          <p:nvPr/>
        </p:nvSpPr>
        <p:spPr>
          <a:xfrm>
            <a:off x="7041298" y="1315235"/>
            <a:ext cx="4349242" cy="52916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84" indent="-171484" algn="l" defTabSz="914446" rtl="0" eaLnBrk="1" latinLnBrk="0" hangingPunct="1">
              <a:lnSpc>
                <a:spcPct val="125000"/>
              </a:lnSpc>
              <a:spcBef>
                <a:spcPts val="14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2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/>
              <a:t>For eksempel forskningsdata</a:t>
            </a:r>
          </a:p>
          <a:p>
            <a:r>
              <a:rPr lang="nb-NO" sz="1600"/>
              <a:t>Må følge </a:t>
            </a:r>
            <a:r>
              <a:rPr lang="nb-NO" sz="1600" b="1"/>
              <a:t>FAIR</a:t>
            </a:r>
            <a:r>
              <a:rPr lang="nb-NO" sz="1600"/>
              <a:t> prinsippene (</a:t>
            </a:r>
            <a:r>
              <a:rPr lang="en-US" sz="1600" b="1"/>
              <a:t>F</a:t>
            </a:r>
            <a:r>
              <a:rPr lang="en-US" sz="1600"/>
              <a:t>indable, </a:t>
            </a:r>
            <a:r>
              <a:rPr lang="en-US" sz="1600" b="1"/>
              <a:t>A</a:t>
            </a:r>
            <a:r>
              <a:rPr lang="en-US" sz="1600"/>
              <a:t>ccessible, </a:t>
            </a:r>
            <a:r>
              <a:rPr lang="en-US" sz="1600" b="1"/>
              <a:t>I</a:t>
            </a:r>
            <a:r>
              <a:rPr lang="en-US" sz="1600"/>
              <a:t>nteroperable, </a:t>
            </a:r>
            <a:r>
              <a:rPr lang="en-US" sz="1600" b="1"/>
              <a:t>R</a:t>
            </a:r>
            <a:r>
              <a:rPr lang="en-US" sz="1600"/>
              <a:t>eusable</a:t>
            </a:r>
            <a:r>
              <a:rPr lang="nb-NO" sz="1600"/>
              <a:t>)</a:t>
            </a:r>
          </a:p>
          <a:p>
            <a:r>
              <a:rPr lang="nb-NO" sz="1600"/>
              <a:t>Deltakere fra flere institusjoner, gjerne internasjonalt</a:t>
            </a:r>
          </a:p>
          <a:p>
            <a:r>
              <a:rPr lang="nb-NO" sz="1600"/>
              <a:t>Må støtte internasjonale fagmiljøenes standarder for begreper, variabler (inklusiv koding) og datamodeller</a:t>
            </a:r>
          </a:p>
          <a:p>
            <a:r>
              <a:rPr lang="nb-NO" sz="1600"/>
              <a:t>Søksmetadata nokså generell, bruksmetadata domenespesifikk</a:t>
            </a:r>
          </a:p>
          <a:p>
            <a:r>
              <a:rPr lang="nb-NO" sz="1600" b="1" err="1"/>
              <a:t>Domenen</a:t>
            </a:r>
            <a:r>
              <a:rPr lang="nb-NO" sz="1600"/>
              <a:t>, ikke virksomheten som bestemmer</a:t>
            </a:r>
          </a:p>
          <a:p>
            <a:pPr lvl="1"/>
            <a:r>
              <a:rPr lang="nb-NO" sz="1600"/>
              <a:t>Ønsker</a:t>
            </a:r>
            <a:r>
              <a:rPr lang="nb-NO" sz="1600" b="1"/>
              <a:t> en</a:t>
            </a:r>
            <a:r>
              <a:rPr lang="nb-NO" sz="1600"/>
              <a:t> registrering i datakatalog for et begrep innen </a:t>
            </a:r>
            <a:r>
              <a:rPr lang="nb-NO" sz="1600" err="1"/>
              <a:t>domenen</a:t>
            </a:r>
            <a:r>
              <a:rPr lang="nb-NO" sz="1600"/>
              <a:t> </a:t>
            </a:r>
          </a:p>
          <a:p>
            <a:pPr marL="457223" lvl="1" indent="0">
              <a:buNone/>
            </a:pPr>
            <a:endParaRPr lang="nb-NO" sz="1600"/>
          </a:p>
          <a:p>
            <a:pPr marL="0" indent="0">
              <a:buNone/>
            </a:pPr>
            <a:endParaRPr lang="nb-NO" sz="1600"/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4CB33384-59E7-43CA-B839-B7B741C67CDE}"/>
              </a:ext>
            </a:extLst>
          </p:cNvPr>
          <p:cNvSpPr/>
          <p:nvPr/>
        </p:nvSpPr>
        <p:spPr>
          <a:xfrm>
            <a:off x="953078" y="1817802"/>
            <a:ext cx="5421346" cy="3966364"/>
          </a:xfrm>
          <a:prstGeom prst="roundRect">
            <a:avLst>
              <a:gd name="adj" fmla="val 46691"/>
            </a:avLst>
          </a:prstGeom>
          <a:solidFill>
            <a:srgbClr val="01B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DDC8011-22E6-4C97-9403-DA112C66107D}"/>
              </a:ext>
            </a:extLst>
          </p:cNvPr>
          <p:cNvSpPr txBox="1"/>
          <p:nvPr/>
        </p:nvSpPr>
        <p:spPr>
          <a:xfrm>
            <a:off x="2409093" y="1962463"/>
            <a:ext cx="2813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rskningsprosjekt Y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AE6A2E8C-A8A8-47EC-869F-CA53429C9B93}"/>
              </a:ext>
            </a:extLst>
          </p:cNvPr>
          <p:cNvSpPr txBox="1"/>
          <p:nvPr/>
        </p:nvSpPr>
        <p:spPr>
          <a:xfrm>
            <a:off x="1339362" y="3416680"/>
            <a:ext cx="1835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Forsker fra UiO</a:t>
            </a:r>
            <a:endParaRPr lang="en-US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D9D3A892-1E60-429A-8B1B-1ABB89C4DB5E}"/>
              </a:ext>
            </a:extLst>
          </p:cNvPr>
          <p:cNvSpPr txBox="1"/>
          <p:nvPr/>
        </p:nvSpPr>
        <p:spPr>
          <a:xfrm>
            <a:off x="3274126" y="3937455"/>
            <a:ext cx="1900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Forskere fra NTNU</a:t>
            </a:r>
            <a:endParaRPr lang="en-US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C6B556DA-59B2-42C5-B558-74EA5943620B}"/>
              </a:ext>
            </a:extLst>
          </p:cNvPr>
          <p:cNvSpPr txBox="1"/>
          <p:nvPr/>
        </p:nvSpPr>
        <p:spPr>
          <a:xfrm>
            <a:off x="3922858" y="2780465"/>
            <a:ext cx="17796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Forsker fra UiT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10CE5B79-1733-4E6A-9B43-93270119B8D9}"/>
              </a:ext>
            </a:extLst>
          </p:cNvPr>
          <p:cNvSpPr txBox="1"/>
          <p:nvPr/>
        </p:nvSpPr>
        <p:spPr>
          <a:xfrm>
            <a:off x="1840881" y="4812664"/>
            <a:ext cx="2866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Scientist from Stanfor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5621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tel 1">
            <a:extLst>
              <a:ext uri="{FF2B5EF4-FFF2-40B4-BE49-F238E27FC236}">
                <a16:creationId xmlns:a16="http://schemas.microsoft.com/office/drawing/2014/main" id="{FFA01300-FFFB-4E2F-8399-7ACF2234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1332" y="151952"/>
            <a:ext cx="9621580" cy="874750"/>
          </a:xfrm>
        </p:spPr>
        <p:txBody>
          <a:bodyPr/>
          <a:lstStyle/>
          <a:p>
            <a:r>
              <a:rPr lang="nb-NO"/>
              <a:t>Innsikt og verdi skapes mellom samhandlende informasjonsdomener </a:t>
            </a:r>
            <a:endParaRPr lang="nb-NO" i="1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56C15C4-0AE3-4297-A8FF-15CB59AC34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6650" y="1143664"/>
            <a:ext cx="9176421" cy="521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8934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tel 1">
            <a:extLst>
              <a:ext uri="{FF2B5EF4-FFF2-40B4-BE49-F238E27FC236}">
                <a16:creationId xmlns:a16="http://schemas.microsoft.com/office/drawing/2014/main" id="{FFA01300-FFFB-4E2F-8399-7ACF2234C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947" y="273091"/>
            <a:ext cx="10818681" cy="1400115"/>
          </a:xfrm>
        </p:spPr>
        <p:txBody>
          <a:bodyPr>
            <a:normAutofit/>
          </a:bodyPr>
          <a:lstStyle/>
          <a:p>
            <a:r>
              <a:rPr lang="nb-NO"/>
              <a:t>Tjenesteproduksjon og analyse for økt innsikt er to måter å skape verdi</a:t>
            </a:r>
            <a:endParaRPr lang="nb-NO" i="1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56C15C4-0AE3-4297-A8FF-15CB59AC34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91322" y="2524612"/>
            <a:ext cx="5448055" cy="3093576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C30F1780-79DE-4889-BCEB-89991B5990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4214" y="2424101"/>
            <a:ext cx="3917090" cy="3194087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9F1718DB-3A17-4DEA-8F88-EED406DB2770}"/>
              </a:ext>
            </a:extLst>
          </p:cNvPr>
          <p:cNvSpPr txBox="1"/>
          <p:nvPr/>
        </p:nvSpPr>
        <p:spPr>
          <a:xfrm>
            <a:off x="1981169" y="5717265"/>
            <a:ext cx="25068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Felles økosystem (</a:t>
            </a:r>
            <a:r>
              <a:rPr lang="nb-NO" err="1"/>
              <a:t>Digdir</a:t>
            </a:r>
            <a:r>
              <a:rPr lang="nb-NO"/>
              <a:t>)</a:t>
            </a:r>
            <a:endParaRPr lang="en-US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15311062-F916-4655-A753-E23CF392F28E}"/>
              </a:ext>
            </a:extLst>
          </p:cNvPr>
          <p:cNvSpPr txBox="1"/>
          <p:nvPr/>
        </p:nvSpPr>
        <p:spPr>
          <a:xfrm>
            <a:off x="7458487" y="5717603"/>
            <a:ext cx="2816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KUDAF samhandlingsmodell</a:t>
            </a:r>
            <a:endParaRPr lang="en-US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287D29C8-8559-4B25-B0D9-840694667EC8}"/>
              </a:ext>
            </a:extLst>
          </p:cNvPr>
          <p:cNvSpPr txBox="1"/>
          <p:nvPr/>
        </p:nvSpPr>
        <p:spPr>
          <a:xfrm>
            <a:off x="6390320" y="1679477"/>
            <a:ext cx="37595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nb-NO"/>
              <a:t>Forbedre måloppnåelse gjennom innsikt fra egne og andres data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BFF03A8-1AA4-48D3-A7E0-5D7CDBDBA927}"/>
              </a:ext>
            </a:extLst>
          </p:cNvPr>
          <p:cNvSpPr txBox="1"/>
          <p:nvPr/>
        </p:nvSpPr>
        <p:spPr>
          <a:xfrm>
            <a:off x="1262126" y="1674705"/>
            <a:ext cx="35417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nb-NO"/>
              <a:t>Samarbeid, samhandling og deling for tjenesteproduksjon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ADDD2B99-FA16-4178-A1C6-60A9A7700608}"/>
              </a:ext>
            </a:extLst>
          </p:cNvPr>
          <p:cNvSpPr txBox="1"/>
          <p:nvPr/>
        </p:nvSpPr>
        <p:spPr>
          <a:xfrm>
            <a:off x="2114912" y="6237122"/>
            <a:ext cx="20393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i="1"/>
              <a:t>«Run </a:t>
            </a:r>
            <a:r>
              <a:rPr lang="nb-NO" i="1" err="1"/>
              <a:t>the</a:t>
            </a:r>
            <a:r>
              <a:rPr lang="nb-NO" i="1"/>
              <a:t> business»</a:t>
            </a:r>
            <a:endParaRPr lang="en-US" i="1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2C9C0A9-4F30-4A6F-9D9A-BC5F6E3D0BAD}"/>
              </a:ext>
            </a:extLst>
          </p:cNvPr>
          <p:cNvSpPr txBox="1"/>
          <p:nvPr/>
        </p:nvSpPr>
        <p:spPr>
          <a:xfrm>
            <a:off x="7607843" y="6243008"/>
            <a:ext cx="23278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i="1"/>
              <a:t>«</a:t>
            </a:r>
            <a:r>
              <a:rPr lang="nb-NO" i="1" err="1"/>
              <a:t>Change</a:t>
            </a:r>
            <a:r>
              <a:rPr lang="nb-NO" i="1"/>
              <a:t> </a:t>
            </a:r>
            <a:r>
              <a:rPr lang="nb-NO" i="1" err="1"/>
              <a:t>the</a:t>
            </a:r>
            <a:r>
              <a:rPr lang="nb-NO" i="1"/>
              <a:t> business»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24662021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kst, visittkort, skjermbilde&#10;&#10;Automatisk generert beskrivelse">
            <a:extLst>
              <a:ext uri="{FF2B5EF4-FFF2-40B4-BE49-F238E27FC236}">
                <a16:creationId xmlns:a16="http://schemas.microsoft.com/office/drawing/2014/main" id="{1AB061B6-7D6D-4945-9555-331C5AF631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0833" y="1074634"/>
            <a:ext cx="7771140" cy="4708732"/>
          </a:xfrm>
          <a:prstGeom prst="rect">
            <a:avLst/>
          </a:prstGeom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BBCC4373-947F-4AD9-BB9F-48A64DE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025" y="1618922"/>
            <a:ext cx="3557354" cy="1810078"/>
          </a:xfrm>
        </p:spPr>
        <p:txBody>
          <a:bodyPr>
            <a:normAutofit fontScale="90000"/>
          </a:bodyPr>
          <a:lstStyle/>
          <a:p>
            <a:r>
              <a:rPr lang="nb-NO"/>
              <a:t>Både analyse og tjenesteproduksjon har behov for domen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7834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435B53-BD03-48C9-A427-EE02080EFA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8" name="think-cell Slide" r:id="rId6" imgW="385" imgH="385" progId="TCLayout.ActiveDocument.1">
                  <p:embed/>
                </p:oleObj>
              </mc:Choice>
              <mc:Fallback>
                <p:oleObj name="think-cell Slide" r:id="rId6" imgW="385" imgH="38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435B53-BD03-48C9-A427-EE02080EFA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9F6B5C-A8A0-448A-ABEA-70C2F91635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400" b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C8A331D-91CE-4C5E-AE53-01C12CB5F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14249"/>
            <a:ext cx="9144000" cy="2387600"/>
          </a:xfrm>
        </p:spPr>
        <p:txBody>
          <a:bodyPr>
            <a:normAutofit fontScale="90000"/>
          </a:bodyPr>
          <a:lstStyle/>
          <a:p>
            <a:br>
              <a:rPr lang="nb-NO" sz="4400"/>
            </a:br>
            <a:br>
              <a:rPr lang="nb-NO" sz="4400"/>
            </a:br>
            <a:br>
              <a:rPr lang="nb-NO" sz="4400"/>
            </a:br>
            <a:br>
              <a:rPr lang="nb-NO" sz="4400"/>
            </a:br>
            <a:r>
              <a:rPr lang="nb-NO" sz="4400"/>
              <a:t>Kunnskapssektorens datafellesskap</a:t>
            </a:r>
            <a:br>
              <a:rPr lang="nb-NO" sz="4400"/>
            </a:br>
            <a:br>
              <a:rPr lang="nb-NO" sz="1300"/>
            </a:br>
            <a:r>
              <a:rPr lang="nb-NO" sz="4400"/>
              <a:t>KUDAF</a:t>
            </a:r>
            <a:br>
              <a:rPr lang="nb-NO" sz="4400"/>
            </a:br>
            <a:br>
              <a:rPr lang="nb-NO" sz="4400"/>
            </a:br>
            <a:r>
              <a:rPr lang="nb-NO" sz="2700"/>
              <a:t>https://kunnskapsdata.no/</a:t>
            </a:r>
            <a:endParaRPr lang="nb-NO" sz="2700">
              <a:cs typeface="Calibri"/>
            </a:endParaRPr>
          </a:p>
        </p:txBody>
      </p:sp>
      <p:sp>
        <p:nvSpPr>
          <p:cNvPr id="6" name="Undertittel 5">
            <a:extLst>
              <a:ext uri="{FF2B5EF4-FFF2-40B4-BE49-F238E27FC236}">
                <a16:creationId xmlns:a16="http://schemas.microsoft.com/office/drawing/2014/main" id="{3DB7085E-57A7-44C2-A738-AA84AF131D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163671"/>
            <a:ext cx="9144000" cy="514830"/>
          </a:xfrm>
        </p:spPr>
        <p:txBody>
          <a:bodyPr/>
          <a:lstStyle/>
          <a:p>
            <a:br>
              <a:rPr lang="nb-NO" sz="500"/>
            </a:br>
            <a:r>
              <a:rPr lang="nb-NO" sz="1800"/>
              <a:t>Forum for informasjonsforvaltning onsdag 19. januar 2022</a:t>
            </a:r>
            <a:endParaRPr lang="nb-NO"/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289F7C07-763F-4056-BE1F-77E418CDE7FE}"/>
              </a:ext>
            </a:extLst>
          </p:cNvPr>
          <p:cNvSpPr txBox="1">
            <a:spLocks/>
          </p:cNvSpPr>
          <p:nvPr/>
        </p:nvSpPr>
        <p:spPr>
          <a:xfrm>
            <a:off x="249108" y="3177949"/>
            <a:ext cx="11761031" cy="782198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415364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nb-NO" sz="2400" b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5511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FE6FAE74-E174-4FC9-AD55-E898E2DFB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0350"/>
          </a:xfrm>
        </p:spPr>
        <p:txBody>
          <a:bodyPr/>
          <a:lstStyle/>
          <a:p>
            <a:r>
              <a:rPr lang="nb-NO"/>
              <a:t>Politiske føringer og ambisjoner (et lite utvalg)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E294CC-88BC-4E2D-BA37-DB04B8E6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F51CDE1-C721-4D01-992A-907C7F75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49AB0-D5ED-A840-B00D-59CC129EA27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8BF32DD-72EC-4011-8170-BBBF923815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720" y="1628665"/>
            <a:ext cx="3612996" cy="509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702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FE6FAE74-E174-4FC9-AD55-E898E2DFB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0350"/>
          </a:xfrm>
        </p:spPr>
        <p:txBody>
          <a:bodyPr/>
          <a:lstStyle/>
          <a:p>
            <a:r>
              <a:rPr lang="nb-NO"/>
              <a:t>Politiske føringer og ambisjoner (et lite utvalg)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E294CC-88BC-4E2D-BA37-DB04B8E6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F51CDE1-C721-4D01-992A-907C7F75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5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8BF32DD-72EC-4011-8170-BBBF92381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720" y="1628665"/>
            <a:ext cx="3612996" cy="509281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4F9A6A79-D134-44F1-9B08-D34D4F40E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5707" y="1545135"/>
            <a:ext cx="3619145" cy="509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559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FE6FAE74-E174-4FC9-AD55-E898E2DFB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0350"/>
          </a:xfrm>
        </p:spPr>
        <p:txBody>
          <a:bodyPr/>
          <a:lstStyle/>
          <a:p>
            <a:r>
              <a:rPr lang="nb-NO"/>
              <a:t>Politiske føringer og ambisjoner (et lite utvalg)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E294CC-88BC-4E2D-BA37-DB04B8E6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F51CDE1-C721-4D01-992A-907C7F75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6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8BF32DD-72EC-4011-8170-BBBF923815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720" y="1628665"/>
            <a:ext cx="3612996" cy="509281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4F9A6A79-D134-44F1-9B08-D34D4F40E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5707" y="1545135"/>
            <a:ext cx="3619145" cy="509281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A7CDA77C-AFCA-48E2-88C0-C48304E907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08187" y="1461606"/>
            <a:ext cx="3676652" cy="517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154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FE6FAE74-E174-4FC9-AD55-E898E2DFB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0350"/>
          </a:xfrm>
        </p:spPr>
        <p:txBody>
          <a:bodyPr/>
          <a:lstStyle/>
          <a:p>
            <a:r>
              <a:rPr lang="nb-NO"/>
              <a:t>Politiske føringer og ambisjoner (et lite utvalg)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E294CC-88BC-4E2D-BA37-DB04B8E6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F51CDE1-C721-4D01-992A-907C7F75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7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8BF32DD-72EC-4011-8170-BBBF923815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720" y="1628665"/>
            <a:ext cx="3612996" cy="509281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4F9A6A79-D134-44F1-9B08-D34D4F40E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5707" y="1545135"/>
            <a:ext cx="3619145" cy="509281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A7CDA77C-AFCA-48E2-88C0-C48304E907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8187" y="1461606"/>
            <a:ext cx="3676652" cy="5176339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B5641A49-E427-4A28-8956-DE1ECA960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0181" y="1397073"/>
            <a:ext cx="3688582" cy="517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025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FE6FAE74-E174-4FC9-AD55-E898E2DFBA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00350"/>
          </a:xfrm>
        </p:spPr>
        <p:txBody>
          <a:bodyPr/>
          <a:lstStyle/>
          <a:p>
            <a:r>
              <a:rPr lang="nb-NO"/>
              <a:t>Politiske føringer og ambisjoner (et lite utvalg)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E294CC-88BC-4E2D-BA37-DB04B8E6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F51CDE1-C721-4D01-992A-907C7F75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8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8BF32DD-72EC-4011-8170-BBBF923815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720" y="1628665"/>
            <a:ext cx="3612996" cy="509281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4F9A6A79-D134-44F1-9B08-D34D4F40E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5707" y="1545135"/>
            <a:ext cx="3619145" cy="509281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A7CDA77C-AFCA-48E2-88C0-C48304E907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8187" y="1461606"/>
            <a:ext cx="3676652" cy="5176339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B5641A49-E427-4A28-8956-DE1ECA960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0181" y="1397073"/>
            <a:ext cx="3688582" cy="5176339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D1828650-229B-4B2B-8635-9C3D8110FC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69102" y="1316535"/>
            <a:ext cx="3672254" cy="517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671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E294CC-88BC-4E2D-BA37-DB04B8E6C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KUDAF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F51CDE1-C721-4D01-992A-907C7F751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49AB0-D5ED-A840-B00D-59CC129EA27F}" type="slidenum">
              <a:rPr lang="nb-NO" smtClean="0"/>
              <a:t>9</a:t>
            </a:fld>
            <a:endParaRPr lang="nb-NO"/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D1828650-229B-4B2B-8635-9C3D8110F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9102" y="1316535"/>
            <a:ext cx="3672254" cy="5176339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B9C2D716-367A-4AB0-972E-0907BA7440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9207" y="683715"/>
            <a:ext cx="4292149" cy="6037760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849B2873-D181-45C8-B140-B28C6072C7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697" y="1249558"/>
            <a:ext cx="6356234" cy="5608442"/>
          </a:xfrm>
          <a:prstGeom prst="rect">
            <a:avLst/>
          </a:prstGeom>
        </p:spPr>
      </p:pic>
      <p:sp>
        <p:nvSpPr>
          <p:cNvPr id="13" name="Tittel 5">
            <a:extLst>
              <a:ext uri="{FF2B5EF4-FFF2-40B4-BE49-F238E27FC236}">
                <a16:creationId xmlns:a16="http://schemas.microsoft.com/office/drawing/2014/main" id="{EEA8CEA4-D832-4005-B615-EE71D215B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00088"/>
          </a:xfrm>
        </p:spPr>
        <p:txBody>
          <a:bodyPr/>
          <a:lstStyle/>
          <a:p>
            <a:r>
              <a:rPr lang="nb-NO"/>
              <a:t>Orden i eget hus</a:t>
            </a:r>
          </a:p>
        </p:txBody>
      </p:sp>
    </p:spTree>
    <p:extLst>
      <p:ext uri="{BB962C8B-B14F-4D97-AF65-F5344CB8AC3E}">
        <p14:creationId xmlns:p14="http://schemas.microsoft.com/office/powerpoint/2010/main" val="246380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uxjX3NsW4PYd_rkS30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uxjX3NsW4PYd_rkS30OQ"/>
</p:tagLst>
</file>

<file path=ppt/theme/theme1.xml><?xml version="1.0" encoding="utf-8"?>
<a:theme xmlns:a="http://schemas.openxmlformats.org/drawingml/2006/main" name="Office-tema">
  <a:themeElements>
    <a:clrScheme name="KUDAF">
      <a:dk1>
        <a:srgbClr val="2F415D"/>
      </a:dk1>
      <a:lt1>
        <a:srgbClr val="FFFFFF"/>
      </a:lt1>
      <a:dk2>
        <a:srgbClr val="BCB1F2"/>
      </a:dk2>
      <a:lt2>
        <a:srgbClr val="F6EDE7"/>
      </a:lt2>
      <a:accent1>
        <a:srgbClr val="F84F50"/>
      </a:accent1>
      <a:accent2>
        <a:srgbClr val="F5A33B"/>
      </a:accent2>
      <a:accent3>
        <a:srgbClr val="D3CEF5"/>
      </a:accent3>
      <a:accent4>
        <a:srgbClr val="F9BFA0"/>
      </a:accent4>
      <a:accent5>
        <a:srgbClr val="169387"/>
      </a:accent5>
      <a:accent6>
        <a:srgbClr val="156C7C"/>
      </a:accent6>
      <a:hlink>
        <a:srgbClr val="F84F50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udaf_MAL" id="{3AF0E169-5FC8-124E-ADA4-D012F517A82C}" vid="{E3AC821C-2AAD-F84B-BCAD-362E4F445B6E}"/>
    </a:ext>
  </a:extLst>
</a:theme>
</file>

<file path=ppt/theme/theme2.xml><?xml version="1.0" encoding="utf-8"?>
<a:theme xmlns:a="http://schemas.openxmlformats.org/drawingml/2006/main" name="2_Office-tema">
  <a:themeElements>
    <a:clrScheme name="Office Theme">
      <a:dk1>
        <a:sysClr val="windowText" lastClr="000000"/>
      </a:dk1>
      <a:lt1>
        <a:sysClr val="window" lastClr="FFFFFF"/>
      </a:lt1>
      <a:dk2>
        <a:srgbClr val="171B4E"/>
      </a:dk2>
      <a:lt2>
        <a:srgbClr val="A2A4A5"/>
      </a:lt2>
      <a:accent1>
        <a:srgbClr val="E72F72"/>
      </a:accent1>
      <a:accent2>
        <a:srgbClr val="0025A0"/>
      </a:accent2>
      <a:accent3>
        <a:srgbClr val="EA591D"/>
      </a:accent3>
      <a:accent4>
        <a:srgbClr val="630879"/>
      </a:accent4>
      <a:accent5>
        <a:srgbClr val="FF8C43"/>
      </a:accent5>
      <a:accent6>
        <a:srgbClr val="A80037"/>
      </a:accent6>
      <a:hlink>
        <a:srgbClr val="0563C1"/>
      </a:hlink>
      <a:folHlink>
        <a:srgbClr val="954F72"/>
      </a:folHlink>
    </a:clrScheme>
    <a:fontScheme name="Custom 185">
      <a:majorFont>
        <a:latin typeface="Poppins Bold"/>
        <a:ea typeface=""/>
        <a:cs typeface=""/>
      </a:majorFont>
      <a:minorFont>
        <a:latin typeface="Poppi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40000"/>
            <a:lumOff val="6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irektoratet_PPTMal" id="{9FE5435D-B079-41B5-9D0F-7713100E1272}" vid="{83A21383-EA70-4CDE-BFC0-4925D796BCD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E159E1240FAB419F08E72AD4C8706A" ma:contentTypeVersion="5" ma:contentTypeDescription="Opprett et nytt dokument." ma:contentTypeScope="" ma:versionID="11919431e0d4c6f5a0b271b3eaea4eeb">
  <xsd:schema xmlns:xsd="http://www.w3.org/2001/XMLSchema" xmlns:xs="http://www.w3.org/2001/XMLSchema" xmlns:p="http://schemas.microsoft.com/office/2006/metadata/properties" xmlns:ns2="18d0de59-c175-4f4d-a6c3-b7aaa79cc7a9" xmlns:ns3="f34f21a7-ae71-423b-80ce-f9ce1c10194f" xmlns:ns4="f2ec445f-28ff-4c41-b9fa-fa26a7c4df0b" targetNamespace="http://schemas.microsoft.com/office/2006/metadata/properties" ma:root="true" ma:fieldsID="5499da87614ec58c301a5dd9df1d9f7f" ns2:_="" ns3:_="" ns4:_="">
    <xsd:import namespace="18d0de59-c175-4f4d-a6c3-b7aaa79cc7a9"/>
    <xsd:import namespace="f34f21a7-ae71-423b-80ce-f9ce1c10194f"/>
    <xsd:import namespace="f2ec445f-28ff-4c41-b9fa-fa26a7c4df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d0de59-c175-4f4d-a6c3-b7aaa79cc7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4f21a7-ae71-423b-80ce-f9ce1c10194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ec445f-28ff-4c41-b9fa-fa26a7c4df0b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7DB107-56CC-4245-8C5D-DA1D2065575A}">
  <ds:schemaRefs>
    <ds:schemaRef ds:uri="18d0de59-c175-4f4d-a6c3-b7aaa79cc7a9"/>
    <ds:schemaRef ds:uri="f2ec445f-28ff-4c41-b9fa-fa26a7c4df0b"/>
    <ds:schemaRef ds:uri="f34f21a7-ae71-423b-80ce-f9ce1c10194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6793C0E-C5C5-4F5E-815B-12DF1A85A6C9}">
  <ds:schemaRefs>
    <ds:schemaRef ds:uri="18d0de59-c175-4f4d-a6c3-b7aaa79cc7a9"/>
    <ds:schemaRef ds:uri="f2ec445f-28ff-4c41-b9fa-fa26a7c4df0b"/>
    <ds:schemaRef ds:uri="f34f21a7-ae71-423b-80ce-f9ce1c10194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2D44B00-6461-4D2F-B766-24847B268C4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UDAF_MAL</Template>
  <TotalTime>0</TotalTime>
  <Words>2079</Words>
  <Application>Microsoft Office PowerPoint</Application>
  <PresentationFormat>Widescreen</PresentationFormat>
  <Paragraphs>397</Paragraphs>
  <Slides>35</Slides>
  <Notes>23</Notes>
  <HiddenSlides>2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5</vt:i4>
      </vt:variant>
    </vt:vector>
  </HeadingPairs>
  <TitlesOfParts>
    <vt:vector size="47" baseType="lpstr">
      <vt:lpstr>Arial</vt:lpstr>
      <vt:lpstr>Calibri</vt:lpstr>
      <vt:lpstr>Helvetica</vt:lpstr>
      <vt:lpstr>Helvetica Neue Light</vt:lpstr>
      <vt:lpstr>Helvetica Neue Medium</vt:lpstr>
      <vt:lpstr>Poppins</vt:lpstr>
      <vt:lpstr>Poppins Bold</vt:lpstr>
      <vt:lpstr>Poppins Medium</vt:lpstr>
      <vt:lpstr>Poppins SemiBold</vt:lpstr>
      <vt:lpstr>Office-tema</vt:lpstr>
      <vt:lpstr>2_Office-tema</vt:lpstr>
      <vt:lpstr>think-cell Slide</vt:lpstr>
      <vt:lpstr>    Kunnskapssektorens datafellesskap  KUDAF  Per Hovde og Heidi Bergh-Hoff, HK-dir</vt:lpstr>
      <vt:lpstr>Innhold</vt:lpstr>
      <vt:lpstr>KUDAF - Bakgrunn og historikk</vt:lpstr>
      <vt:lpstr>Politiske føringer og ambisjoner (et lite utvalg)</vt:lpstr>
      <vt:lpstr>Politiske føringer og ambisjoner (et lite utvalg)</vt:lpstr>
      <vt:lpstr>Politiske føringer og ambisjoner (et lite utvalg)</vt:lpstr>
      <vt:lpstr>Politiske føringer og ambisjoner (et lite utvalg)</vt:lpstr>
      <vt:lpstr>Politiske føringer og ambisjoner (et lite utvalg)</vt:lpstr>
      <vt:lpstr>Orden i eget hus</vt:lpstr>
      <vt:lpstr>PowerPoint-presentasjon</vt:lpstr>
      <vt:lpstr>KUDAF – hva og hvordan?</vt:lpstr>
      <vt:lpstr>«Markedsplass» for data basert på Airbnb-modellen</vt:lpstr>
      <vt:lpstr>PowerPoint-presentasjon</vt:lpstr>
      <vt:lpstr>KUDAF som plattform for å understøtte økosystem av data</vt:lpstr>
      <vt:lpstr>KUDAFs behov til metadatakatalogen for beskrivelse av dataprodukter (datasett)</vt:lpstr>
      <vt:lpstr>Datautforsker (metadatadrevet kobling av dataprodukter)</vt:lpstr>
      <vt:lpstr>Hvordan KUDAF understøtter den nasjonale verktøykassen for deling av data</vt:lpstr>
      <vt:lpstr>Verdikjedeanalyser</vt:lpstr>
      <vt:lpstr>PowerPoint-presentasjon</vt:lpstr>
      <vt:lpstr>PowerPoint-presentasjon</vt:lpstr>
      <vt:lpstr>Rammeverk for digital samhandling står sentralt i verdikjedeanalysene</vt:lpstr>
      <vt:lpstr>Verdikjedeanalysene identifiserer utfordringer knyttet til digital samhandlingsevne</vt:lpstr>
      <vt:lpstr>Virkemidler i programmet for å løse flokene</vt:lpstr>
      <vt:lpstr>FAIR-prinsippene viktige for å sikre effektiv gjenbruk og viderebruk av data</vt:lpstr>
      <vt:lpstr>Vi må bygge kompetanse for å bli et datadrevet samfunn</vt:lpstr>
      <vt:lpstr>Vi må bygge kompetanse for å bli et datadrevet samfunn</vt:lpstr>
      <vt:lpstr>Tilleggsgevinst med nasjonal harmonisering av mange evner</vt:lpstr>
      <vt:lpstr>Data og begreper forvaltes i domener</vt:lpstr>
      <vt:lpstr>Data og begreper forvaltes i domener</vt:lpstr>
      <vt:lpstr>Administrative domener omfatter et fagområde gjerne hos mange institusjoner</vt:lpstr>
      <vt:lpstr>Bruksdomener omfatter en brukskontekst, gjerne med flere virksomheter, også internasjonalt</vt:lpstr>
      <vt:lpstr>Innsikt og verdi skapes mellom samhandlende informasjonsdomener </vt:lpstr>
      <vt:lpstr>Tjenesteproduksjon og analyse for økt innsikt er to måter å skape verdi</vt:lpstr>
      <vt:lpstr>Både analyse og tjenesteproduksjon har behov for domener</vt:lpstr>
      <vt:lpstr>    Kunnskapssektorens datafellesskap  KUDAF  https://kunnskapsdata.no/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idi Joanne Bergh-Hoff</dc:creator>
  <cp:lastModifiedBy>Per Hovde</cp:lastModifiedBy>
  <cp:revision>2</cp:revision>
  <cp:lastPrinted>2022-01-19T07:30:22Z</cp:lastPrinted>
  <dcterms:created xsi:type="dcterms:W3CDTF">2021-09-21T13:29:36Z</dcterms:created>
  <dcterms:modified xsi:type="dcterms:W3CDTF">2022-01-21T08:3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E159E1240FAB419F08E72AD4C8706A</vt:lpwstr>
  </property>
  <property fmtid="{D5CDD505-2E9C-101B-9397-08002B2CF9AE}" pid="3" name="_ExtendedDescription">
    <vt:lpwstr/>
  </property>
  <property fmtid="{D5CDD505-2E9C-101B-9397-08002B2CF9AE}" pid="4" name="MSIP_Label_4012811f-b717-4099-a412-3cacd3519ab9_Enabled">
    <vt:lpwstr>true</vt:lpwstr>
  </property>
  <property fmtid="{D5CDD505-2E9C-101B-9397-08002B2CF9AE}" pid="5" name="MSIP_Label_4012811f-b717-4099-a412-3cacd3519ab9_SetDate">
    <vt:lpwstr>2021-09-21T14:08:04Z</vt:lpwstr>
  </property>
  <property fmtid="{D5CDD505-2E9C-101B-9397-08002B2CF9AE}" pid="6" name="MSIP_Label_4012811f-b717-4099-a412-3cacd3519ab9_Method">
    <vt:lpwstr>Privileged</vt:lpwstr>
  </property>
  <property fmtid="{D5CDD505-2E9C-101B-9397-08002B2CF9AE}" pid="7" name="MSIP_Label_4012811f-b717-4099-a412-3cacd3519ab9_Name">
    <vt:lpwstr>Åpen</vt:lpwstr>
  </property>
  <property fmtid="{D5CDD505-2E9C-101B-9397-08002B2CF9AE}" pid="8" name="MSIP_Label_4012811f-b717-4099-a412-3cacd3519ab9_SiteId">
    <vt:lpwstr>1ec46890-73f8-4a2a-9b2c-9a6611f1c922</vt:lpwstr>
  </property>
  <property fmtid="{D5CDD505-2E9C-101B-9397-08002B2CF9AE}" pid="9" name="MSIP_Label_4012811f-b717-4099-a412-3cacd3519ab9_ActionId">
    <vt:lpwstr>220367d9-32bd-4055-819c-b74a0ac97df9</vt:lpwstr>
  </property>
  <property fmtid="{D5CDD505-2E9C-101B-9397-08002B2CF9AE}" pid="10" name="MSIP_Label_4012811f-b717-4099-a412-3cacd3519ab9_ContentBits">
    <vt:lpwstr>0</vt:lpwstr>
  </property>
</Properties>
</file>